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297" r:id="rId5"/>
    <p:sldId id="321" r:id="rId6"/>
    <p:sldId id="2188" r:id="rId7"/>
    <p:sldId id="320" r:id="rId8"/>
    <p:sldId id="2190" r:id="rId9"/>
    <p:sldId id="509" r:id="rId10"/>
    <p:sldId id="2186" r:id="rId11"/>
    <p:sldId id="2209" r:id="rId12"/>
    <p:sldId id="2196" r:id="rId13"/>
    <p:sldId id="2201" r:id="rId14"/>
    <p:sldId id="2210" r:id="rId15"/>
    <p:sldId id="2208" r:id="rId16"/>
    <p:sldId id="2197" r:id="rId17"/>
    <p:sldId id="2211" r:id="rId18"/>
    <p:sldId id="2207" r:id="rId19"/>
    <p:sldId id="2198" r:id="rId20"/>
    <p:sldId id="2203" r:id="rId21"/>
    <p:sldId id="2212" r:id="rId22"/>
    <p:sldId id="2206" r:id="rId23"/>
    <p:sldId id="2199" r:id="rId24"/>
    <p:sldId id="2204" r:id="rId25"/>
    <p:sldId id="2213" r:id="rId26"/>
    <p:sldId id="284" r:id="rId27"/>
    <p:sldId id="2200" r:id="rId28"/>
    <p:sldId id="2205" r:id="rId29"/>
    <p:sldId id="2214" r:id="rId30"/>
    <p:sldId id="278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174EA46-EDE6-1182-8FD7-38562A92EEBB}" name="Simon Steenson" initials="SS" userId="S::s.steenson@nutrition.org.uk::5d091211-0632-4e08-8ba7-b6c525d6f94c" providerId="AD"/>
  <p188:author id="{F1E6144C-14BA-4EF9-61ED-859BA2598D84}" name="Frances Meek" initials="FM" userId="S::F.Meek@nutrition.org.uk::f3af35cc-3229-46e1-af36-3525661cfbd3" providerId="AD"/>
  <p188:author id="{02195D9F-6869-295B-93F1-A89F5C8E513B}" name="Guest User" initials="GU" userId="S::urn:spo:anon#90ce5c5aaf9463e09a5c7fc573f54d493c3e99d72cfb7d0f860fb8c822b1e273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3B058"/>
    <a:srgbClr val="F6F6F6"/>
    <a:srgbClr val="F5F5F5"/>
    <a:srgbClr val="FDC92F"/>
    <a:srgbClr val="E538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1BA529-7160-4DF2-BCD8-625728D1FD38}" v="4" dt="2023-05-16T11:19:18.283"/>
    <p1510:client id="{E72E3493-A804-48A6-BD48-3B6A3B42B5D5}" v="3" dt="2023-05-16T10:58:05.0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849" autoAdjust="0"/>
  </p:normalViewPr>
  <p:slideViewPr>
    <p:cSldViewPr snapToGrid="0">
      <p:cViewPr varScale="1">
        <p:scale>
          <a:sx n="99" d="100"/>
          <a:sy n="99" d="100"/>
        </p:scale>
        <p:origin x="38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ire Theobald" userId="e5e96d6a-dffb-4be3-a7c9-5724c0a71d0d" providerId="ADAL" clId="{E72E3493-A804-48A6-BD48-3B6A3B42B5D5}"/>
    <pc:docChg chg="modSld">
      <pc:chgData name="Claire Theobald" userId="e5e96d6a-dffb-4be3-a7c9-5724c0a71d0d" providerId="ADAL" clId="{E72E3493-A804-48A6-BD48-3B6A3B42B5D5}" dt="2023-05-16T10:58:05.031" v="2"/>
      <pc:docMkLst>
        <pc:docMk/>
      </pc:docMkLst>
      <pc:sldChg chg="modAnim">
        <pc:chgData name="Claire Theobald" userId="e5e96d6a-dffb-4be3-a7c9-5724c0a71d0d" providerId="ADAL" clId="{E72E3493-A804-48A6-BD48-3B6A3B42B5D5}" dt="2023-05-16T10:58:05.031" v="2"/>
        <pc:sldMkLst>
          <pc:docMk/>
          <pc:sldMk cId="2163111731" sldId="2186"/>
        </pc:sldMkLst>
      </pc:sldChg>
    </pc:docChg>
  </pc:docChgLst>
  <pc:docChgLst>
    <pc:chgData name="Frances Meek" userId="f3af35cc-3229-46e1-af36-3525661cfbd3" providerId="ADAL" clId="{1FBF343B-161C-430D-9628-7E8F9F3C0EE8}"/>
    <pc:docChg chg="custSel delSld modSld modMainMaster">
      <pc:chgData name="Frances Meek" userId="f3af35cc-3229-46e1-af36-3525661cfbd3" providerId="ADAL" clId="{1FBF343B-161C-430D-9628-7E8F9F3C0EE8}" dt="2023-05-11T10:28:25.570" v="204" actId="20577"/>
      <pc:docMkLst>
        <pc:docMk/>
      </pc:docMkLst>
      <pc:sldChg chg="modSp mod">
        <pc:chgData name="Frances Meek" userId="f3af35cc-3229-46e1-af36-3525661cfbd3" providerId="ADAL" clId="{1FBF343B-161C-430D-9628-7E8F9F3C0EE8}" dt="2023-05-11T10:25:27.450" v="155" actId="13926"/>
        <pc:sldMkLst>
          <pc:docMk/>
          <pc:sldMk cId="433890173" sldId="284"/>
        </pc:sldMkLst>
        <pc:spChg chg="mod">
          <ac:chgData name="Frances Meek" userId="f3af35cc-3229-46e1-af36-3525661cfbd3" providerId="ADAL" clId="{1FBF343B-161C-430D-9628-7E8F9F3C0EE8}" dt="2023-05-11T10:25:27.450" v="155" actId="13926"/>
          <ac:spMkLst>
            <pc:docMk/>
            <pc:sldMk cId="433890173" sldId="284"/>
            <ac:spMk id="87" creationId="{157E4EE1-D3EF-100C-BE7A-A3AC2B101911}"/>
          </ac:spMkLst>
        </pc:spChg>
      </pc:sldChg>
      <pc:sldChg chg="modSp mod">
        <pc:chgData name="Frances Meek" userId="f3af35cc-3229-46e1-af36-3525661cfbd3" providerId="ADAL" clId="{1FBF343B-161C-430D-9628-7E8F9F3C0EE8}" dt="2023-05-11T09:56:46.545" v="1" actId="13926"/>
        <pc:sldMkLst>
          <pc:docMk/>
          <pc:sldMk cId="4161811288" sldId="321"/>
        </pc:sldMkLst>
        <pc:spChg chg="mod">
          <ac:chgData name="Frances Meek" userId="f3af35cc-3229-46e1-af36-3525661cfbd3" providerId="ADAL" clId="{1FBF343B-161C-430D-9628-7E8F9F3C0EE8}" dt="2023-05-11T09:56:46.545" v="1" actId="13926"/>
          <ac:spMkLst>
            <pc:docMk/>
            <pc:sldMk cId="4161811288" sldId="321"/>
            <ac:spMk id="4" creationId="{8573D8A7-B8E2-EA1D-4ECE-3A7CD218FFFA}"/>
          </ac:spMkLst>
        </pc:spChg>
      </pc:sldChg>
      <pc:sldChg chg="modSp mod">
        <pc:chgData name="Frances Meek" userId="f3af35cc-3229-46e1-af36-3525661cfbd3" providerId="ADAL" clId="{1FBF343B-161C-430D-9628-7E8F9F3C0EE8}" dt="2023-05-11T09:59:04.177" v="10" actId="13926"/>
        <pc:sldMkLst>
          <pc:docMk/>
          <pc:sldMk cId="2163111731" sldId="2186"/>
        </pc:sldMkLst>
        <pc:spChg chg="mod">
          <ac:chgData name="Frances Meek" userId="f3af35cc-3229-46e1-af36-3525661cfbd3" providerId="ADAL" clId="{1FBF343B-161C-430D-9628-7E8F9F3C0EE8}" dt="2023-05-11T09:59:04.177" v="10" actId="13926"/>
          <ac:spMkLst>
            <pc:docMk/>
            <pc:sldMk cId="2163111731" sldId="2186"/>
            <ac:spMk id="49" creationId="{F5F81E81-DC92-BF51-59D1-948E22252525}"/>
          </ac:spMkLst>
        </pc:spChg>
      </pc:sldChg>
      <pc:sldChg chg="del">
        <pc:chgData name="Frances Meek" userId="f3af35cc-3229-46e1-af36-3525661cfbd3" providerId="ADAL" clId="{1FBF343B-161C-430D-9628-7E8F9F3C0EE8}" dt="2023-05-11T10:15:37.193" v="76" actId="47"/>
        <pc:sldMkLst>
          <pc:docMk/>
          <pc:sldMk cId="159678450" sldId="2202"/>
        </pc:sldMkLst>
      </pc:sldChg>
      <pc:sldChg chg="delCm">
        <pc:chgData name="Frances Meek" userId="f3af35cc-3229-46e1-af36-3525661cfbd3" providerId="ADAL" clId="{1FBF343B-161C-430D-9628-7E8F9F3C0EE8}" dt="2023-05-11T10:19:32.865" v="112"/>
        <pc:sldMkLst>
          <pc:docMk/>
          <pc:sldMk cId="1743459186" sldId="220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Frances Meek" userId="f3af35cc-3229-46e1-af36-3525661cfbd3" providerId="ADAL" clId="{1FBF343B-161C-430D-9628-7E8F9F3C0EE8}" dt="2023-05-11T10:19:32.865" v="112"/>
              <pc2:cmMkLst xmlns:pc2="http://schemas.microsoft.com/office/powerpoint/2019/9/main/command">
                <pc:docMk/>
                <pc:sldMk cId="1743459186" sldId="2203"/>
                <pc2:cmMk id="{133744FF-28F6-41B5-B11E-9DDDE209DAB0}"/>
              </pc2:cmMkLst>
            </pc226:cmChg>
          </p:ext>
        </pc:extLst>
      </pc:sldChg>
      <pc:sldChg chg="modSp mod">
        <pc:chgData name="Frances Meek" userId="f3af35cc-3229-46e1-af36-3525661cfbd3" providerId="ADAL" clId="{1FBF343B-161C-430D-9628-7E8F9F3C0EE8}" dt="2023-05-11T10:20:22.725" v="135" actId="27636"/>
        <pc:sldMkLst>
          <pc:docMk/>
          <pc:sldMk cId="3098424544" sldId="2204"/>
        </pc:sldMkLst>
        <pc:spChg chg="mod">
          <ac:chgData name="Frances Meek" userId="f3af35cc-3229-46e1-af36-3525661cfbd3" providerId="ADAL" clId="{1FBF343B-161C-430D-9628-7E8F9F3C0EE8}" dt="2023-05-11T10:20:22.725" v="135" actId="27636"/>
          <ac:spMkLst>
            <pc:docMk/>
            <pc:sldMk cId="3098424544" sldId="2204"/>
            <ac:spMk id="2" creationId="{EC539744-047A-3E69-2FBD-92F6E5A5D197}"/>
          </ac:spMkLst>
        </pc:spChg>
      </pc:sldChg>
      <pc:sldChg chg="addSp delSp modSp mod">
        <pc:chgData name="Frances Meek" userId="f3af35cc-3229-46e1-af36-3525661cfbd3" providerId="ADAL" clId="{1FBF343B-161C-430D-9628-7E8F9F3C0EE8}" dt="2023-05-11T10:21:43.564" v="148"/>
        <pc:sldMkLst>
          <pc:docMk/>
          <pc:sldMk cId="229279357" sldId="2205"/>
        </pc:sldMkLst>
        <pc:picChg chg="add mod">
          <ac:chgData name="Frances Meek" userId="f3af35cc-3229-46e1-af36-3525661cfbd3" providerId="ADAL" clId="{1FBF343B-161C-430D-9628-7E8F9F3C0EE8}" dt="2023-05-11T10:21:43.564" v="148"/>
          <ac:picMkLst>
            <pc:docMk/>
            <pc:sldMk cId="229279357" sldId="2205"/>
            <ac:picMk id="3" creationId="{01293453-DFDB-96D4-B394-D28D36E4CD9E}"/>
          </ac:picMkLst>
        </pc:picChg>
        <pc:picChg chg="del">
          <ac:chgData name="Frances Meek" userId="f3af35cc-3229-46e1-af36-3525661cfbd3" providerId="ADAL" clId="{1FBF343B-161C-430D-9628-7E8F9F3C0EE8}" dt="2023-05-11T10:21:40.676" v="147" actId="478"/>
          <ac:picMkLst>
            <pc:docMk/>
            <pc:sldMk cId="229279357" sldId="2205"/>
            <ac:picMk id="9" creationId="{D48AB176-B037-0EA6-4AF1-309F7B1A3CC4}"/>
          </ac:picMkLst>
        </pc:picChg>
      </pc:sldChg>
      <pc:sldChg chg="modSp mod">
        <pc:chgData name="Frances Meek" userId="f3af35cc-3229-46e1-af36-3525661cfbd3" providerId="ADAL" clId="{1FBF343B-161C-430D-9628-7E8F9F3C0EE8}" dt="2023-05-11T10:28:25.570" v="204" actId="20577"/>
        <pc:sldMkLst>
          <pc:docMk/>
          <pc:sldMk cId="2133443212" sldId="2206"/>
        </pc:sldMkLst>
        <pc:spChg chg="mod">
          <ac:chgData name="Frances Meek" userId="f3af35cc-3229-46e1-af36-3525661cfbd3" providerId="ADAL" clId="{1FBF343B-161C-430D-9628-7E8F9F3C0EE8}" dt="2023-05-11T10:28:25.570" v="204" actId="20577"/>
          <ac:spMkLst>
            <pc:docMk/>
            <pc:sldMk cId="2133443212" sldId="2206"/>
            <ac:spMk id="4" creationId="{D5B6529B-8A69-FE97-054F-7EB05EF50144}"/>
          </ac:spMkLst>
        </pc:spChg>
      </pc:sldChg>
      <pc:sldChg chg="modSp mod delCm">
        <pc:chgData name="Frances Meek" userId="f3af35cc-3229-46e1-af36-3525661cfbd3" providerId="ADAL" clId="{1FBF343B-161C-430D-9628-7E8F9F3C0EE8}" dt="2023-05-11T10:02:50.551" v="75" actId="255"/>
        <pc:sldMkLst>
          <pc:docMk/>
          <pc:sldMk cId="1485348504" sldId="2208"/>
        </pc:sldMkLst>
        <pc:spChg chg="mod">
          <ac:chgData name="Frances Meek" userId="f3af35cc-3229-46e1-af36-3525661cfbd3" providerId="ADAL" clId="{1FBF343B-161C-430D-9628-7E8F9F3C0EE8}" dt="2023-05-11T10:02:50.551" v="75" actId="255"/>
          <ac:spMkLst>
            <pc:docMk/>
            <pc:sldMk cId="1485348504" sldId="2208"/>
            <ac:spMk id="4" creationId="{2841E70A-C562-419A-E213-EB1990514F6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Frances Meek" userId="f3af35cc-3229-46e1-af36-3525661cfbd3" providerId="ADAL" clId="{1FBF343B-161C-430D-9628-7E8F9F3C0EE8}" dt="2023-05-11T10:01:39.314" v="14"/>
              <pc2:cmMkLst xmlns:pc2="http://schemas.microsoft.com/office/powerpoint/2019/9/main/command">
                <pc:docMk/>
                <pc:sldMk cId="1485348504" sldId="2208"/>
                <pc2:cmMk id="{C41FB589-22EC-48C9-A931-820231E060D8}"/>
              </pc2:cmMkLst>
            </pc226:cmChg>
          </p:ext>
        </pc:extLst>
      </pc:sldChg>
      <pc:sldChg chg="modAnim delCm">
        <pc:chgData name="Frances Meek" userId="f3af35cc-3229-46e1-af36-3525661cfbd3" providerId="ADAL" clId="{1FBF343B-161C-430D-9628-7E8F9F3C0EE8}" dt="2023-05-11T10:00:20.187" v="13"/>
        <pc:sldMkLst>
          <pc:docMk/>
          <pc:sldMk cId="2292398585" sldId="221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Frances Meek" userId="f3af35cc-3229-46e1-af36-3525661cfbd3" providerId="ADAL" clId="{1FBF343B-161C-430D-9628-7E8F9F3C0EE8}" dt="2023-05-11T09:59:41.184" v="11"/>
              <pc2:cmMkLst xmlns:pc2="http://schemas.microsoft.com/office/powerpoint/2019/9/main/command">
                <pc:docMk/>
                <pc:sldMk cId="2292398585" sldId="2210"/>
                <pc2:cmMk id="{1A7A3A57-C8F9-45AC-992B-56CA7DB81349}"/>
              </pc2:cmMkLst>
            </pc226:cmChg>
          </p:ext>
        </pc:extLst>
      </pc:sldChg>
      <pc:sldChg chg="addSp delSp modSp mod delAnim modAnim">
        <pc:chgData name="Frances Meek" userId="f3af35cc-3229-46e1-af36-3525661cfbd3" providerId="ADAL" clId="{1FBF343B-161C-430D-9628-7E8F9F3C0EE8}" dt="2023-05-11T10:27:16.247" v="174" actId="20577"/>
        <pc:sldMkLst>
          <pc:docMk/>
          <pc:sldMk cId="2888759159" sldId="2211"/>
        </pc:sldMkLst>
        <pc:spChg chg="mod">
          <ac:chgData name="Frances Meek" userId="f3af35cc-3229-46e1-af36-3525661cfbd3" providerId="ADAL" clId="{1FBF343B-161C-430D-9628-7E8F9F3C0EE8}" dt="2023-05-11T10:27:16.247" v="174" actId="20577"/>
          <ac:spMkLst>
            <pc:docMk/>
            <pc:sldMk cId="2888759159" sldId="2211"/>
            <ac:spMk id="6" creationId="{776049B8-B104-0C58-E8A6-1DF6942D1191}"/>
          </ac:spMkLst>
        </pc:spChg>
        <pc:spChg chg="mod">
          <ac:chgData name="Frances Meek" userId="f3af35cc-3229-46e1-af36-3525661cfbd3" providerId="ADAL" clId="{1FBF343B-161C-430D-9628-7E8F9F3C0EE8}" dt="2023-05-11T10:26:55.432" v="167" actId="20577"/>
          <ac:spMkLst>
            <pc:docMk/>
            <pc:sldMk cId="2888759159" sldId="2211"/>
            <ac:spMk id="10" creationId="{47265341-54B7-DA03-D70F-74DB499A89CB}"/>
          </ac:spMkLst>
        </pc:spChg>
        <pc:picChg chg="del mod">
          <ac:chgData name="Frances Meek" userId="f3af35cc-3229-46e1-af36-3525661cfbd3" providerId="ADAL" clId="{1FBF343B-161C-430D-9628-7E8F9F3C0EE8}" dt="2023-05-11T10:16:32.771" v="97" actId="478"/>
          <ac:picMkLst>
            <pc:docMk/>
            <pc:sldMk cId="2888759159" sldId="2211"/>
            <ac:picMk id="3" creationId="{F6ED3764-08FC-A7C6-5DCA-E57039B42FA5}"/>
          </ac:picMkLst>
        </pc:picChg>
        <pc:picChg chg="mod">
          <ac:chgData name="Frances Meek" userId="f3af35cc-3229-46e1-af36-3525661cfbd3" providerId="ADAL" clId="{1FBF343B-161C-430D-9628-7E8F9F3C0EE8}" dt="2023-05-11T10:15:42.718" v="77" actId="1076"/>
          <ac:picMkLst>
            <pc:docMk/>
            <pc:sldMk cId="2888759159" sldId="2211"/>
            <ac:picMk id="4" creationId="{C2B61416-315A-736F-AD83-D2E79AD177EA}"/>
          </ac:picMkLst>
        </pc:picChg>
        <pc:picChg chg="add mod">
          <ac:chgData name="Frances Meek" userId="f3af35cc-3229-46e1-af36-3525661cfbd3" providerId="ADAL" clId="{1FBF343B-161C-430D-9628-7E8F9F3C0EE8}" dt="2023-05-11T10:18:36.608" v="103" actId="1076"/>
          <ac:picMkLst>
            <pc:docMk/>
            <pc:sldMk cId="2888759159" sldId="2211"/>
            <ac:picMk id="12" creationId="{8BA1422C-C73B-6C67-C348-C75AFD32D9C9}"/>
          </ac:picMkLst>
        </pc:picChg>
      </pc:sldChg>
      <pc:sldChg chg="modSp mod modAnim">
        <pc:chgData name="Frances Meek" userId="f3af35cc-3229-46e1-af36-3525661cfbd3" providerId="ADAL" clId="{1FBF343B-161C-430D-9628-7E8F9F3C0EE8}" dt="2023-05-11T10:19:53.714" v="120"/>
        <pc:sldMkLst>
          <pc:docMk/>
          <pc:sldMk cId="975181020" sldId="2212"/>
        </pc:sldMkLst>
        <pc:spChg chg="mod">
          <ac:chgData name="Frances Meek" userId="f3af35cc-3229-46e1-af36-3525661cfbd3" providerId="ADAL" clId="{1FBF343B-161C-430D-9628-7E8F9F3C0EE8}" dt="2023-05-11T10:19:41.322" v="118" actId="20577"/>
          <ac:spMkLst>
            <pc:docMk/>
            <pc:sldMk cId="975181020" sldId="2212"/>
            <ac:spMk id="3" creationId="{7538ABD7-5CEC-5596-C211-062EF2819B6D}"/>
          </ac:spMkLst>
        </pc:spChg>
      </pc:sldChg>
      <pc:sldChg chg="modSp mod modAnim">
        <pc:chgData name="Frances Meek" userId="f3af35cc-3229-46e1-af36-3525661cfbd3" providerId="ADAL" clId="{1FBF343B-161C-430D-9628-7E8F9F3C0EE8}" dt="2023-05-11T10:21:19.843" v="146"/>
        <pc:sldMkLst>
          <pc:docMk/>
          <pc:sldMk cId="1615956032" sldId="2213"/>
        </pc:sldMkLst>
        <pc:spChg chg="mod">
          <ac:chgData name="Frances Meek" userId="f3af35cc-3229-46e1-af36-3525661cfbd3" providerId="ADAL" clId="{1FBF343B-161C-430D-9628-7E8F9F3C0EE8}" dt="2023-05-11T10:20:46.221" v="141" actId="20577"/>
          <ac:spMkLst>
            <pc:docMk/>
            <pc:sldMk cId="1615956032" sldId="2213"/>
            <ac:spMk id="3" creationId="{7538ABD7-5CEC-5596-C211-062EF2819B6D}"/>
          </ac:spMkLst>
        </pc:spChg>
        <pc:spChg chg="mod">
          <ac:chgData name="Frances Meek" userId="f3af35cc-3229-46e1-af36-3525661cfbd3" providerId="ADAL" clId="{1FBF343B-161C-430D-9628-7E8F9F3C0EE8}" dt="2023-05-11T10:21:03.635" v="143" actId="20577"/>
          <ac:spMkLst>
            <pc:docMk/>
            <pc:sldMk cId="1615956032" sldId="2213"/>
            <ac:spMk id="4" creationId="{4C818D4A-882E-0E3A-2D64-EB568E11F4D0}"/>
          </ac:spMkLst>
        </pc:spChg>
        <pc:spChg chg="mod">
          <ac:chgData name="Frances Meek" userId="f3af35cc-3229-46e1-af36-3525661cfbd3" providerId="ADAL" clId="{1FBF343B-161C-430D-9628-7E8F9F3C0EE8}" dt="2023-05-11T10:21:04.604" v="144" actId="20577"/>
          <ac:spMkLst>
            <pc:docMk/>
            <pc:sldMk cId="1615956032" sldId="2213"/>
            <ac:spMk id="14" creationId="{B969AC89-7563-EE58-21C6-B016C026B16A}"/>
          </ac:spMkLst>
        </pc:spChg>
      </pc:sldChg>
      <pc:sldChg chg="modSp mod modAnim">
        <pc:chgData name="Frances Meek" userId="f3af35cc-3229-46e1-af36-3525661cfbd3" providerId="ADAL" clId="{1FBF343B-161C-430D-9628-7E8F9F3C0EE8}" dt="2023-05-11T10:23:44.646" v="154" actId="20577"/>
        <pc:sldMkLst>
          <pc:docMk/>
          <pc:sldMk cId="2407176978" sldId="2214"/>
        </pc:sldMkLst>
        <pc:spChg chg="mod">
          <ac:chgData name="Frances Meek" userId="f3af35cc-3229-46e1-af36-3525661cfbd3" providerId="ADAL" clId="{1FBF343B-161C-430D-9628-7E8F9F3C0EE8}" dt="2023-05-11T10:23:44.646" v="154" actId="20577"/>
          <ac:spMkLst>
            <pc:docMk/>
            <pc:sldMk cId="2407176978" sldId="2214"/>
            <ac:spMk id="14" creationId="{59477DF4-6931-E9EF-12F0-41CCA90BB61A}"/>
          </ac:spMkLst>
        </pc:spChg>
        <pc:picChg chg="mod">
          <ac:chgData name="Frances Meek" userId="f3af35cc-3229-46e1-af36-3525661cfbd3" providerId="ADAL" clId="{1FBF343B-161C-430D-9628-7E8F9F3C0EE8}" dt="2023-05-11T10:23:26.331" v="152" actId="1076"/>
          <ac:picMkLst>
            <pc:docMk/>
            <pc:sldMk cId="2407176978" sldId="2214"/>
            <ac:picMk id="16" creationId="{05E23D52-1F2D-77B7-FFCB-63240149C595}"/>
          </ac:picMkLst>
        </pc:picChg>
      </pc:sldChg>
      <pc:sldMasterChg chg="modSldLayout">
        <pc:chgData name="Frances Meek" userId="f3af35cc-3229-46e1-af36-3525661cfbd3" providerId="ADAL" clId="{1FBF343B-161C-430D-9628-7E8F9F3C0EE8}" dt="2023-05-11T09:58:03.094" v="9" actId="20577"/>
        <pc:sldMasterMkLst>
          <pc:docMk/>
          <pc:sldMasterMk cId="1040954479" sldId="2147483648"/>
        </pc:sldMasterMkLst>
        <pc:sldLayoutChg chg="modSp mod">
          <pc:chgData name="Frances Meek" userId="f3af35cc-3229-46e1-af36-3525661cfbd3" providerId="ADAL" clId="{1FBF343B-161C-430D-9628-7E8F9F3C0EE8}" dt="2023-05-11T09:58:03.094" v="9" actId="20577"/>
          <pc:sldLayoutMkLst>
            <pc:docMk/>
            <pc:sldMasterMk cId="1040954479" sldId="2147483648"/>
            <pc:sldLayoutMk cId="1098784338" sldId="2147483671"/>
          </pc:sldLayoutMkLst>
          <pc:spChg chg="mod">
            <ac:chgData name="Frances Meek" userId="f3af35cc-3229-46e1-af36-3525661cfbd3" providerId="ADAL" clId="{1FBF343B-161C-430D-9628-7E8F9F3C0EE8}" dt="2023-05-11T09:58:03.094" v="9" actId="20577"/>
            <ac:spMkLst>
              <pc:docMk/>
              <pc:sldMasterMk cId="1040954479" sldId="2147483648"/>
              <pc:sldLayoutMk cId="1098784338" sldId="2147483671"/>
              <ac:spMk id="3" creationId="{05424188-BEB1-9E4C-8C10-2E7F33C47095}"/>
            </ac:spMkLst>
          </pc:spChg>
        </pc:sldLayoutChg>
        <pc:sldLayoutChg chg="modSp mod">
          <pc:chgData name="Frances Meek" userId="f3af35cc-3229-46e1-af36-3525661cfbd3" providerId="ADAL" clId="{1FBF343B-161C-430D-9628-7E8F9F3C0EE8}" dt="2023-05-11T09:57:53.387" v="7" actId="20577"/>
          <pc:sldLayoutMkLst>
            <pc:docMk/>
            <pc:sldMasterMk cId="1040954479" sldId="2147483648"/>
            <pc:sldLayoutMk cId="1957407856" sldId="2147483673"/>
          </pc:sldLayoutMkLst>
          <pc:spChg chg="mod">
            <ac:chgData name="Frances Meek" userId="f3af35cc-3229-46e1-af36-3525661cfbd3" providerId="ADAL" clId="{1FBF343B-161C-430D-9628-7E8F9F3C0EE8}" dt="2023-05-11T09:57:53.387" v="7" actId="20577"/>
            <ac:spMkLst>
              <pc:docMk/>
              <pc:sldMasterMk cId="1040954479" sldId="2147483648"/>
              <pc:sldLayoutMk cId="1957407856" sldId="2147483673"/>
              <ac:spMk id="13" creationId="{DF267F82-1D76-804E-973A-8BD5C66E480F}"/>
            </ac:spMkLst>
          </pc:spChg>
        </pc:sldLayoutChg>
        <pc:sldLayoutChg chg="modSp mod">
          <pc:chgData name="Frances Meek" userId="f3af35cc-3229-46e1-af36-3525661cfbd3" providerId="ADAL" clId="{1FBF343B-161C-430D-9628-7E8F9F3C0EE8}" dt="2023-05-11T09:57:42.313" v="3" actId="20577"/>
          <pc:sldLayoutMkLst>
            <pc:docMk/>
            <pc:sldMasterMk cId="1040954479" sldId="2147483648"/>
            <pc:sldLayoutMk cId="3431014560" sldId="2147483685"/>
          </pc:sldLayoutMkLst>
          <pc:spChg chg="mod">
            <ac:chgData name="Frances Meek" userId="f3af35cc-3229-46e1-af36-3525661cfbd3" providerId="ADAL" clId="{1FBF343B-161C-430D-9628-7E8F9F3C0EE8}" dt="2023-05-11T09:57:42.313" v="3" actId="20577"/>
            <ac:spMkLst>
              <pc:docMk/>
              <pc:sldMasterMk cId="1040954479" sldId="2147483648"/>
              <pc:sldLayoutMk cId="3431014560" sldId="2147483685"/>
              <ac:spMk id="11" creationId="{7397FF6A-0F69-F94B-B2C1-43C897CABE2C}"/>
            </ac:spMkLst>
          </pc:spChg>
        </pc:sldLayoutChg>
        <pc:sldLayoutChg chg="modSp mod">
          <pc:chgData name="Frances Meek" userId="f3af35cc-3229-46e1-af36-3525661cfbd3" providerId="ADAL" clId="{1FBF343B-161C-430D-9628-7E8F9F3C0EE8}" dt="2023-05-11T09:57:47.568" v="5" actId="20577"/>
          <pc:sldLayoutMkLst>
            <pc:docMk/>
            <pc:sldMasterMk cId="1040954479" sldId="2147483648"/>
            <pc:sldLayoutMk cId="2513918845" sldId="2147483686"/>
          </pc:sldLayoutMkLst>
          <pc:spChg chg="mod">
            <ac:chgData name="Frances Meek" userId="f3af35cc-3229-46e1-af36-3525661cfbd3" providerId="ADAL" clId="{1FBF343B-161C-430D-9628-7E8F9F3C0EE8}" dt="2023-05-11T09:57:47.568" v="5" actId="20577"/>
            <ac:spMkLst>
              <pc:docMk/>
              <pc:sldMasterMk cId="1040954479" sldId="2147483648"/>
              <pc:sldLayoutMk cId="2513918845" sldId="2147483686"/>
              <ac:spMk id="10" creationId="{CFA7B9A1-7C66-864F-89E8-C6ADB63E1A29}"/>
            </ac:spMkLst>
          </pc:spChg>
        </pc:sldLayoutChg>
      </pc:sldMasterChg>
    </pc:docChg>
  </pc:docChgLst>
  <pc:docChgLst>
    <pc:chgData name="Ewen Trafford" userId="e520b4bf-a196-48b7-bc10-b1590a457daa" providerId="ADAL" clId="{101BA529-7160-4DF2-BCD8-625728D1FD38}"/>
    <pc:docChg chg="undo custSel modSld modMainMaster">
      <pc:chgData name="Ewen Trafford" userId="e520b4bf-a196-48b7-bc10-b1590a457daa" providerId="ADAL" clId="{101BA529-7160-4DF2-BCD8-625728D1FD38}" dt="2023-05-16T11:19:09.830" v="43" actId="20577"/>
      <pc:docMkLst>
        <pc:docMk/>
      </pc:docMkLst>
      <pc:sldChg chg="modSp mod">
        <pc:chgData name="Ewen Trafford" userId="e520b4bf-a196-48b7-bc10-b1590a457daa" providerId="ADAL" clId="{101BA529-7160-4DF2-BCD8-625728D1FD38}" dt="2023-05-16T11:19:09.830" v="43" actId="20577"/>
        <pc:sldMkLst>
          <pc:docMk/>
          <pc:sldMk cId="213333460" sldId="278"/>
        </pc:sldMkLst>
        <pc:spChg chg="mod">
          <ac:chgData name="Ewen Trafford" userId="e520b4bf-a196-48b7-bc10-b1590a457daa" providerId="ADAL" clId="{101BA529-7160-4DF2-BCD8-625728D1FD38}" dt="2023-05-16T11:19:09.830" v="43" actId="20577"/>
          <ac:spMkLst>
            <pc:docMk/>
            <pc:sldMk cId="213333460" sldId="278"/>
            <ac:spMk id="2" creationId="{6591C189-ADE1-9245-9053-9E690E565D00}"/>
          </ac:spMkLst>
        </pc:spChg>
      </pc:sldChg>
      <pc:sldChg chg="modSp mod">
        <pc:chgData name="Ewen Trafford" userId="e520b4bf-a196-48b7-bc10-b1590a457daa" providerId="ADAL" clId="{101BA529-7160-4DF2-BCD8-625728D1FD38}" dt="2023-05-16T11:13:45.624" v="6" actId="20577"/>
        <pc:sldMkLst>
          <pc:docMk/>
          <pc:sldMk cId="4279490625" sldId="320"/>
        </pc:sldMkLst>
        <pc:spChg chg="mod">
          <ac:chgData name="Ewen Trafford" userId="e520b4bf-a196-48b7-bc10-b1590a457daa" providerId="ADAL" clId="{101BA529-7160-4DF2-BCD8-625728D1FD38}" dt="2023-05-16T11:13:45.624" v="6" actId="20577"/>
          <ac:spMkLst>
            <pc:docMk/>
            <pc:sldMk cId="4279490625" sldId="320"/>
            <ac:spMk id="4" creationId="{B87653F0-E0AC-EDEC-237D-CB576D58175B}"/>
          </ac:spMkLst>
        </pc:spChg>
      </pc:sldChg>
      <pc:sldChg chg="modSp mod">
        <pc:chgData name="Ewen Trafford" userId="e520b4bf-a196-48b7-bc10-b1590a457daa" providerId="ADAL" clId="{101BA529-7160-4DF2-BCD8-625728D1FD38}" dt="2023-05-16T11:15:22.309" v="26" actId="408"/>
        <pc:sldMkLst>
          <pc:docMk/>
          <pc:sldMk cId="2163111731" sldId="2186"/>
        </pc:sldMkLst>
        <pc:picChg chg="mod">
          <ac:chgData name="Ewen Trafford" userId="e520b4bf-a196-48b7-bc10-b1590a457daa" providerId="ADAL" clId="{101BA529-7160-4DF2-BCD8-625728D1FD38}" dt="2023-05-16T11:15:22.309" v="26" actId="408"/>
          <ac:picMkLst>
            <pc:docMk/>
            <pc:sldMk cId="2163111731" sldId="2186"/>
            <ac:picMk id="3" creationId="{B0B8E2D8-7C66-63F0-DD2E-8A47E4FCD2BE}"/>
          </ac:picMkLst>
        </pc:picChg>
        <pc:picChg chg="mod">
          <ac:chgData name="Ewen Trafford" userId="e520b4bf-a196-48b7-bc10-b1590a457daa" providerId="ADAL" clId="{101BA529-7160-4DF2-BCD8-625728D1FD38}" dt="2023-05-16T11:15:20.096" v="25" actId="12789"/>
          <ac:picMkLst>
            <pc:docMk/>
            <pc:sldMk cId="2163111731" sldId="2186"/>
            <ac:picMk id="5" creationId="{D6DEA916-A814-235A-D309-4616B2BC2002}"/>
          </ac:picMkLst>
        </pc:picChg>
        <pc:picChg chg="mod">
          <ac:chgData name="Ewen Trafford" userId="e520b4bf-a196-48b7-bc10-b1590a457daa" providerId="ADAL" clId="{101BA529-7160-4DF2-BCD8-625728D1FD38}" dt="2023-05-16T11:15:20.096" v="25" actId="12789"/>
          <ac:picMkLst>
            <pc:docMk/>
            <pc:sldMk cId="2163111731" sldId="2186"/>
            <ac:picMk id="51" creationId="{8F15F5E8-3805-6BAB-E050-53DEC9C5DC31}"/>
          </ac:picMkLst>
        </pc:picChg>
        <pc:picChg chg="mod">
          <ac:chgData name="Ewen Trafford" userId="e520b4bf-a196-48b7-bc10-b1590a457daa" providerId="ADAL" clId="{101BA529-7160-4DF2-BCD8-625728D1FD38}" dt="2023-05-16T11:15:22.309" v="26" actId="408"/>
          <ac:picMkLst>
            <pc:docMk/>
            <pc:sldMk cId="2163111731" sldId="2186"/>
            <ac:picMk id="55" creationId="{D9BC8EF9-1139-6803-DEE6-FC6BDFAF9EF2}"/>
          </ac:picMkLst>
        </pc:picChg>
        <pc:picChg chg="mod">
          <ac:chgData name="Ewen Trafford" userId="e520b4bf-a196-48b7-bc10-b1590a457daa" providerId="ADAL" clId="{101BA529-7160-4DF2-BCD8-625728D1FD38}" dt="2023-05-16T11:15:22.309" v="26" actId="408"/>
          <ac:picMkLst>
            <pc:docMk/>
            <pc:sldMk cId="2163111731" sldId="2186"/>
            <ac:picMk id="57" creationId="{AA11E5EC-D159-6AB5-B59A-F2BAD76D612B}"/>
          </ac:picMkLst>
        </pc:picChg>
      </pc:sldChg>
      <pc:sldChg chg="modSp mod">
        <pc:chgData name="Ewen Trafford" userId="e520b4bf-a196-48b7-bc10-b1590a457daa" providerId="ADAL" clId="{101BA529-7160-4DF2-BCD8-625728D1FD38}" dt="2023-05-16T11:13:12.353" v="0" actId="20577"/>
        <pc:sldMkLst>
          <pc:docMk/>
          <pc:sldMk cId="3823514749" sldId="2188"/>
        </pc:sldMkLst>
        <pc:spChg chg="mod">
          <ac:chgData name="Ewen Trafford" userId="e520b4bf-a196-48b7-bc10-b1590a457daa" providerId="ADAL" clId="{101BA529-7160-4DF2-BCD8-625728D1FD38}" dt="2023-05-16T11:13:12.353" v="0" actId="20577"/>
          <ac:spMkLst>
            <pc:docMk/>
            <pc:sldMk cId="3823514749" sldId="2188"/>
            <ac:spMk id="4" creationId="{4A8CC93A-77B7-9746-DCAA-805092D6A98B}"/>
          </ac:spMkLst>
        </pc:spChg>
      </pc:sldChg>
      <pc:sldChg chg="modSp mod">
        <pc:chgData name="Ewen Trafford" userId="e520b4bf-a196-48b7-bc10-b1590a457daa" providerId="ADAL" clId="{101BA529-7160-4DF2-BCD8-625728D1FD38}" dt="2023-05-16T11:14:52.660" v="22" actId="12789"/>
        <pc:sldMkLst>
          <pc:docMk/>
          <pc:sldMk cId="3692900277" sldId="2190"/>
        </pc:sldMkLst>
        <pc:spChg chg="mod">
          <ac:chgData name="Ewen Trafford" userId="e520b4bf-a196-48b7-bc10-b1590a457daa" providerId="ADAL" clId="{101BA529-7160-4DF2-BCD8-625728D1FD38}" dt="2023-05-16T11:13:53.759" v="7" actId="12788"/>
          <ac:spMkLst>
            <pc:docMk/>
            <pc:sldMk cId="3692900277" sldId="2190"/>
            <ac:spMk id="18" creationId="{01D47421-75D3-1612-458D-27B496EFB216}"/>
          </ac:spMkLst>
        </pc:spChg>
        <pc:spChg chg="mod">
          <ac:chgData name="Ewen Trafford" userId="e520b4bf-a196-48b7-bc10-b1590a457daa" providerId="ADAL" clId="{101BA529-7160-4DF2-BCD8-625728D1FD38}" dt="2023-05-16T11:14:09.215" v="11" actId="12788"/>
          <ac:spMkLst>
            <pc:docMk/>
            <pc:sldMk cId="3692900277" sldId="2190"/>
            <ac:spMk id="19" creationId="{D6934C64-ED26-7089-068A-5D4AB1F8F203}"/>
          </ac:spMkLst>
        </pc:spChg>
        <pc:spChg chg="mod">
          <ac:chgData name="Ewen Trafford" userId="e520b4bf-a196-48b7-bc10-b1590a457daa" providerId="ADAL" clId="{101BA529-7160-4DF2-BCD8-625728D1FD38}" dt="2023-05-16T11:14:00.079" v="9" actId="12788"/>
          <ac:spMkLst>
            <pc:docMk/>
            <pc:sldMk cId="3692900277" sldId="2190"/>
            <ac:spMk id="20" creationId="{EB153FD2-BA37-028C-F6C1-FF9ADCB3F68F}"/>
          </ac:spMkLst>
        </pc:spChg>
        <pc:spChg chg="mod">
          <ac:chgData name="Ewen Trafford" userId="e520b4bf-a196-48b7-bc10-b1590a457daa" providerId="ADAL" clId="{101BA529-7160-4DF2-BCD8-625728D1FD38}" dt="2023-05-16T11:14:04.951" v="10" actId="12788"/>
          <ac:spMkLst>
            <pc:docMk/>
            <pc:sldMk cId="3692900277" sldId="2190"/>
            <ac:spMk id="21" creationId="{2D9FBAB0-B3C7-D99D-B093-2240F858E9BE}"/>
          </ac:spMkLst>
        </pc:spChg>
        <pc:spChg chg="mod">
          <ac:chgData name="Ewen Trafford" userId="e520b4bf-a196-48b7-bc10-b1590a457daa" providerId="ADAL" clId="{101BA529-7160-4DF2-BCD8-625728D1FD38}" dt="2023-05-16T11:14:12.980" v="12" actId="12788"/>
          <ac:spMkLst>
            <pc:docMk/>
            <pc:sldMk cId="3692900277" sldId="2190"/>
            <ac:spMk id="22" creationId="{39B829E3-0975-1F51-AE7E-C3FD1EE1D893}"/>
          </ac:spMkLst>
        </pc:spChg>
        <pc:spChg chg="mod">
          <ac:chgData name="Ewen Trafford" userId="e520b4bf-a196-48b7-bc10-b1590a457daa" providerId="ADAL" clId="{101BA529-7160-4DF2-BCD8-625728D1FD38}" dt="2023-05-16T11:14:29.553" v="17" actId="12788"/>
          <ac:spMkLst>
            <pc:docMk/>
            <pc:sldMk cId="3692900277" sldId="2190"/>
            <ac:spMk id="23" creationId="{AC64BB69-7178-9886-AB1A-23DB611A26C4}"/>
          </ac:spMkLst>
        </pc:spChg>
        <pc:picChg chg="mod">
          <ac:chgData name="Ewen Trafford" userId="e520b4bf-a196-48b7-bc10-b1590a457daa" providerId="ADAL" clId="{101BA529-7160-4DF2-BCD8-625728D1FD38}" dt="2023-05-16T11:14:48.401" v="21" actId="12789"/>
          <ac:picMkLst>
            <pc:docMk/>
            <pc:sldMk cId="3692900277" sldId="2190"/>
            <ac:picMk id="7" creationId="{84DB3661-DA96-8242-B688-35872C953E36}"/>
          </ac:picMkLst>
        </pc:picChg>
        <pc:picChg chg="mod">
          <ac:chgData name="Ewen Trafford" userId="e520b4bf-a196-48b7-bc10-b1590a457daa" providerId="ADAL" clId="{101BA529-7160-4DF2-BCD8-625728D1FD38}" dt="2023-05-16T11:14:48.401" v="21" actId="12789"/>
          <ac:picMkLst>
            <pc:docMk/>
            <pc:sldMk cId="3692900277" sldId="2190"/>
            <ac:picMk id="10" creationId="{7096757F-0C43-E356-C36B-14EDD42C5DE9}"/>
          </ac:picMkLst>
        </pc:picChg>
        <pc:picChg chg="mod">
          <ac:chgData name="Ewen Trafford" userId="e520b4bf-a196-48b7-bc10-b1590a457daa" providerId="ADAL" clId="{101BA529-7160-4DF2-BCD8-625728D1FD38}" dt="2023-05-16T11:14:52.660" v="22" actId="12789"/>
          <ac:picMkLst>
            <pc:docMk/>
            <pc:sldMk cId="3692900277" sldId="2190"/>
            <ac:picMk id="11" creationId="{CF9F8073-FDA2-2CFD-8056-45DC2AACE006}"/>
          </ac:picMkLst>
        </pc:picChg>
        <pc:picChg chg="mod">
          <ac:chgData name="Ewen Trafford" userId="e520b4bf-a196-48b7-bc10-b1590a457daa" providerId="ADAL" clId="{101BA529-7160-4DF2-BCD8-625728D1FD38}" dt="2023-05-16T11:14:52.660" v="22" actId="12789"/>
          <ac:picMkLst>
            <pc:docMk/>
            <pc:sldMk cId="3692900277" sldId="2190"/>
            <ac:picMk id="13" creationId="{6E3CC9DC-AFBE-707C-27C9-4C40FD5CC4F6}"/>
          </ac:picMkLst>
        </pc:picChg>
        <pc:picChg chg="mod">
          <ac:chgData name="Ewen Trafford" userId="e520b4bf-a196-48b7-bc10-b1590a457daa" providerId="ADAL" clId="{101BA529-7160-4DF2-BCD8-625728D1FD38}" dt="2023-05-16T11:14:52.660" v="22" actId="12789"/>
          <ac:picMkLst>
            <pc:docMk/>
            <pc:sldMk cId="3692900277" sldId="2190"/>
            <ac:picMk id="17" creationId="{0D1C3297-B925-626F-62BA-C7698E91776A}"/>
          </ac:picMkLst>
        </pc:picChg>
        <pc:picChg chg="mod">
          <ac:chgData name="Ewen Trafford" userId="e520b4bf-a196-48b7-bc10-b1590a457daa" providerId="ADAL" clId="{101BA529-7160-4DF2-BCD8-625728D1FD38}" dt="2023-05-16T11:14:48.401" v="21" actId="12789"/>
          <ac:picMkLst>
            <pc:docMk/>
            <pc:sldMk cId="3692900277" sldId="2190"/>
            <ac:picMk id="24" creationId="{4437ABF0-9C69-96B3-8C94-08E2301F8798}"/>
          </ac:picMkLst>
        </pc:picChg>
      </pc:sldChg>
      <pc:sldChg chg="modSp mod">
        <pc:chgData name="Ewen Trafford" userId="e520b4bf-a196-48b7-bc10-b1590a457daa" providerId="ADAL" clId="{101BA529-7160-4DF2-BCD8-625728D1FD38}" dt="2023-05-16T11:16:02.746" v="28" actId="12789"/>
        <pc:sldMkLst>
          <pc:docMk/>
          <pc:sldMk cId="252039702" sldId="2201"/>
        </pc:sldMkLst>
        <pc:picChg chg="mod">
          <ac:chgData name="Ewen Trafford" userId="e520b4bf-a196-48b7-bc10-b1590a457daa" providerId="ADAL" clId="{101BA529-7160-4DF2-BCD8-625728D1FD38}" dt="2023-05-16T11:15:57.138" v="27" actId="12789"/>
          <ac:picMkLst>
            <pc:docMk/>
            <pc:sldMk cId="252039702" sldId="2201"/>
            <ac:picMk id="2" creationId="{46A7477F-05D9-A125-CE57-803043A3A13B}"/>
          </ac:picMkLst>
        </pc:picChg>
        <pc:picChg chg="mod">
          <ac:chgData name="Ewen Trafford" userId="e520b4bf-a196-48b7-bc10-b1590a457daa" providerId="ADAL" clId="{101BA529-7160-4DF2-BCD8-625728D1FD38}" dt="2023-05-16T11:16:02.746" v="28" actId="12789"/>
          <ac:picMkLst>
            <pc:docMk/>
            <pc:sldMk cId="252039702" sldId="2201"/>
            <ac:picMk id="4" creationId="{8D12B943-AEB1-100E-83AB-48FB960F9F5E}"/>
          </ac:picMkLst>
        </pc:picChg>
        <pc:picChg chg="mod">
          <ac:chgData name="Ewen Trafford" userId="e520b4bf-a196-48b7-bc10-b1590a457daa" providerId="ADAL" clId="{101BA529-7160-4DF2-BCD8-625728D1FD38}" dt="2023-05-16T11:15:57.138" v="27" actId="12789"/>
          <ac:picMkLst>
            <pc:docMk/>
            <pc:sldMk cId="252039702" sldId="2201"/>
            <ac:picMk id="5" creationId="{3160966E-80DE-9610-7C21-8A4D3101C016}"/>
          </ac:picMkLst>
        </pc:picChg>
        <pc:picChg chg="mod">
          <ac:chgData name="Ewen Trafford" userId="e520b4bf-a196-48b7-bc10-b1590a457daa" providerId="ADAL" clId="{101BA529-7160-4DF2-BCD8-625728D1FD38}" dt="2023-05-16T11:16:02.746" v="28" actId="12789"/>
          <ac:picMkLst>
            <pc:docMk/>
            <pc:sldMk cId="252039702" sldId="2201"/>
            <ac:picMk id="6" creationId="{94EB1F2D-221A-0C5D-9E3B-65A80AB896DD}"/>
          </ac:picMkLst>
        </pc:picChg>
        <pc:picChg chg="mod">
          <ac:chgData name="Ewen Trafford" userId="e520b4bf-a196-48b7-bc10-b1590a457daa" providerId="ADAL" clId="{101BA529-7160-4DF2-BCD8-625728D1FD38}" dt="2023-05-16T11:15:57.138" v="27" actId="12789"/>
          <ac:picMkLst>
            <pc:docMk/>
            <pc:sldMk cId="252039702" sldId="2201"/>
            <ac:picMk id="8" creationId="{32148C3A-A93B-BEED-32B5-5AE45BA69165}"/>
          </ac:picMkLst>
        </pc:picChg>
        <pc:picChg chg="mod">
          <ac:chgData name="Ewen Trafford" userId="e520b4bf-a196-48b7-bc10-b1590a457daa" providerId="ADAL" clId="{101BA529-7160-4DF2-BCD8-625728D1FD38}" dt="2023-05-16T11:16:02.746" v="28" actId="12789"/>
          <ac:picMkLst>
            <pc:docMk/>
            <pc:sldMk cId="252039702" sldId="2201"/>
            <ac:picMk id="11" creationId="{0D68A368-58C3-173B-552F-B9F0B118BAE2}"/>
          </ac:picMkLst>
        </pc:picChg>
      </pc:sldChg>
      <pc:sldChg chg="modSp mod">
        <pc:chgData name="Ewen Trafford" userId="e520b4bf-a196-48b7-bc10-b1590a457daa" providerId="ADAL" clId="{101BA529-7160-4DF2-BCD8-625728D1FD38}" dt="2023-05-16T11:18:16.866" v="38" actId="1037"/>
        <pc:sldMkLst>
          <pc:docMk/>
          <pc:sldMk cId="229279357" sldId="2205"/>
        </pc:sldMkLst>
        <pc:picChg chg="mod">
          <ac:chgData name="Ewen Trafford" userId="e520b4bf-a196-48b7-bc10-b1590a457daa" providerId="ADAL" clId="{101BA529-7160-4DF2-BCD8-625728D1FD38}" dt="2023-05-16T11:18:10.591" v="36" actId="12788"/>
          <ac:picMkLst>
            <pc:docMk/>
            <pc:sldMk cId="229279357" sldId="2205"/>
            <ac:picMk id="4" creationId="{D7907CEA-4D16-FE7C-B769-5D4836404D10}"/>
          </ac:picMkLst>
        </pc:picChg>
        <pc:picChg chg="mod">
          <ac:chgData name="Ewen Trafford" userId="e520b4bf-a196-48b7-bc10-b1590a457daa" providerId="ADAL" clId="{101BA529-7160-4DF2-BCD8-625728D1FD38}" dt="2023-05-16T11:18:16.866" v="38" actId="1037"/>
          <ac:picMkLst>
            <pc:docMk/>
            <pc:sldMk cId="229279357" sldId="2205"/>
            <ac:picMk id="5" creationId="{F94FFA9F-47E7-686F-43CF-EF2730D3EF68}"/>
          </ac:picMkLst>
        </pc:picChg>
        <pc:picChg chg="mod">
          <ac:chgData name="Ewen Trafford" userId="e520b4bf-a196-48b7-bc10-b1590a457daa" providerId="ADAL" clId="{101BA529-7160-4DF2-BCD8-625728D1FD38}" dt="2023-05-16T11:18:10.591" v="36" actId="12788"/>
          <ac:picMkLst>
            <pc:docMk/>
            <pc:sldMk cId="229279357" sldId="2205"/>
            <ac:picMk id="7" creationId="{4CE94558-BB3F-5C96-EED1-83DEE18F2BDA}"/>
          </ac:picMkLst>
        </pc:picChg>
        <pc:picChg chg="mod">
          <ac:chgData name="Ewen Trafford" userId="e520b4bf-a196-48b7-bc10-b1590a457daa" providerId="ADAL" clId="{101BA529-7160-4DF2-BCD8-625728D1FD38}" dt="2023-05-16T11:18:16.866" v="38" actId="1037"/>
          <ac:picMkLst>
            <pc:docMk/>
            <pc:sldMk cId="229279357" sldId="2205"/>
            <ac:picMk id="8" creationId="{684207D6-96AF-5804-CBB6-C63F48413073}"/>
          </ac:picMkLst>
        </pc:picChg>
        <pc:picChg chg="mod">
          <ac:chgData name="Ewen Trafford" userId="e520b4bf-a196-48b7-bc10-b1590a457daa" providerId="ADAL" clId="{101BA529-7160-4DF2-BCD8-625728D1FD38}" dt="2023-05-16T11:18:07.405" v="35" actId="12788"/>
          <ac:picMkLst>
            <pc:docMk/>
            <pc:sldMk cId="229279357" sldId="2205"/>
            <ac:picMk id="10" creationId="{871E103B-4A85-30AB-7A8C-18CEEC4C5E9B}"/>
          </ac:picMkLst>
        </pc:picChg>
        <pc:picChg chg="mod">
          <ac:chgData name="Ewen Trafford" userId="e520b4bf-a196-48b7-bc10-b1590a457daa" providerId="ADAL" clId="{101BA529-7160-4DF2-BCD8-625728D1FD38}" dt="2023-05-16T11:18:07.405" v="35" actId="12788"/>
          <ac:picMkLst>
            <pc:docMk/>
            <pc:sldMk cId="229279357" sldId="2205"/>
            <ac:picMk id="11" creationId="{F3C1AB9E-055B-6208-9058-10FF11131AE5}"/>
          </ac:picMkLst>
        </pc:picChg>
      </pc:sldChg>
      <pc:sldChg chg="modSp mod">
        <pc:chgData name="Ewen Trafford" userId="e520b4bf-a196-48b7-bc10-b1590a457daa" providerId="ADAL" clId="{101BA529-7160-4DF2-BCD8-625728D1FD38}" dt="2023-05-16T11:16:33.160" v="29" actId="20577"/>
        <pc:sldMkLst>
          <pc:docMk/>
          <pc:sldMk cId="1485348504" sldId="2208"/>
        </pc:sldMkLst>
        <pc:spChg chg="mod">
          <ac:chgData name="Ewen Trafford" userId="e520b4bf-a196-48b7-bc10-b1590a457daa" providerId="ADAL" clId="{101BA529-7160-4DF2-BCD8-625728D1FD38}" dt="2023-05-16T11:16:33.160" v="29" actId="20577"/>
          <ac:spMkLst>
            <pc:docMk/>
            <pc:sldMk cId="1485348504" sldId="2208"/>
            <ac:spMk id="2" creationId="{096E14F1-9038-5C5A-93FB-11A59C9F3489}"/>
          </ac:spMkLst>
        </pc:spChg>
      </pc:sldChg>
      <pc:sldChg chg="modSp">
        <pc:chgData name="Ewen Trafford" userId="e520b4bf-a196-48b7-bc10-b1590a457daa" providerId="ADAL" clId="{101BA529-7160-4DF2-BCD8-625728D1FD38}" dt="2023-05-16T11:17:31.684" v="31" actId="20577"/>
        <pc:sldMkLst>
          <pc:docMk/>
          <pc:sldMk cId="1615956032" sldId="2213"/>
        </pc:sldMkLst>
        <pc:spChg chg="mod">
          <ac:chgData name="Ewen Trafford" userId="e520b4bf-a196-48b7-bc10-b1590a457daa" providerId="ADAL" clId="{101BA529-7160-4DF2-BCD8-625728D1FD38}" dt="2023-05-16T11:17:31.684" v="31" actId="20577"/>
          <ac:spMkLst>
            <pc:docMk/>
            <pc:sldMk cId="1615956032" sldId="2213"/>
            <ac:spMk id="17" creationId="{6C13F20E-62A6-350E-CF33-B0E67B949079}"/>
          </ac:spMkLst>
        </pc:spChg>
      </pc:sldChg>
      <pc:sldMasterChg chg="modSldLayout">
        <pc:chgData name="Ewen Trafford" userId="e520b4bf-a196-48b7-bc10-b1590a457daa" providerId="ADAL" clId="{101BA529-7160-4DF2-BCD8-625728D1FD38}" dt="2023-05-16T11:17:09.753" v="30" actId="20577"/>
        <pc:sldMasterMkLst>
          <pc:docMk/>
          <pc:sldMasterMk cId="1040954479" sldId="2147483648"/>
        </pc:sldMasterMkLst>
        <pc:sldLayoutChg chg="modSp mod">
          <pc:chgData name="Ewen Trafford" userId="e520b4bf-a196-48b7-bc10-b1590a457daa" providerId="ADAL" clId="{101BA529-7160-4DF2-BCD8-625728D1FD38}" dt="2023-05-16T11:17:09.753" v="30" actId="20577"/>
          <pc:sldLayoutMkLst>
            <pc:docMk/>
            <pc:sldMasterMk cId="1040954479" sldId="2147483648"/>
            <pc:sldLayoutMk cId="3103926557" sldId="2147483688"/>
          </pc:sldLayoutMkLst>
          <pc:spChg chg="mod">
            <ac:chgData name="Ewen Trafford" userId="e520b4bf-a196-48b7-bc10-b1590a457daa" providerId="ADAL" clId="{101BA529-7160-4DF2-BCD8-625728D1FD38}" dt="2023-05-16T11:17:09.753" v="30" actId="20577"/>
            <ac:spMkLst>
              <pc:docMk/>
              <pc:sldMasterMk cId="1040954479" sldId="2147483648"/>
              <pc:sldLayoutMk cId="3103926557" sldId="2147483688"/>
              <ac:spMk id="3" creationId="{991F1E5D-5E12-09D1-44B6-7A1A05B6DDAB}"/>
            </ac:spMkLst>
          </pc:spChg>
        </pc:sldLayoutChg>
      </pc:sldMasterChg>
    </pc:docChg>
  </pc:docChgLst>
  <pc:docChgLst>
    <pc:chgData name="Frances Meek" userId="f3af35cc-3229-46e1-af36-3525661cfbd3" providerId="ADAL" clId="{402734F4-ED68-41EE-9F3D-3834E7938ECA}"/>
    <pc:docChg chg="undo custSel addSld delSld modSld modMainMaster">
      <pc:chgData name="Frances Meek" userId="f3af35cc-3229-46e1-af36-3525661cfbd3" providerId="ADAL" clId="{402734F4-ED68-41EE-9F3D-3834E7938ECA}" dt="2023-04-19T13:09:54.067" v="1921" actId="20577"/>
      <pc:docMkLst>
        <pc:docMk/>
      </pc:docMkLst>
      <pc:sldChg chg="modSp mod">
        <pc:chgData name="Frances Meek" userId="f3af35cc-3229-46e1-af36-3525661cfbd3" providerId="ADAL" clId="{402734F4-ED68-41EE-9F3D-3834E7938ECA}" dt="2023-04-19T12:02:00.684" v="504" actId="20577"/>
        <pc:sldMkLst>
          <pc:docMk/>
          <pc:sldMk cId="213333460" sldId="278"/>
        </pc:sldMkLst>
        <pc:spChg chg="mod">
          <ac:chgData name="Frances Meek" userId="f3af35cc-3229-46e1-af36-3525661cfbd3" providerId="ADAL" clId="{402734F4-ED68-41EE-9F3D-3834E7938ECA}" dt="2023-04-19T12:02:00.684" v="504" actId="20577"/>
          <ac:spMkLst>
            <pc:docMk/>
            <pc:sldMk cId="213333460" sldId="278"/>
            <ac:spMk id="2" creationId="{6591C189-ADE1-9245-9053-9E690E565D00}"/>
          </ac:spMkLst>
        </pc:spChg>
      </pc:sldChg>
      <pc:sldChg chg="addSp delSp modSp mod">
        <pc:chgData name="Frances Meek" userId="f3af35cc-3229-46e1-af36-3525661cfbd3" providerId="ADAL" clId="{402734F4-ED68-41EE-9F3D-3834E7938ECA}" dt="2023-04-19T12:01:53.067" v="502" actId="13926"/>
        <pc:sldMkLst>
          <pc:docMk/>
          <pc:sldMk cId="433890173" sldId="284"/>
        </pc:sldMkLst>
        <pc:spChg chg="mod">
          <ac:chgData name="Frances Meek" userId="f3af35cc-3229-46e1-af36-3525661cfbd3" providerId="ADAL" clId="{402734F4-ED68-41EE-9F3D-3834E7938ECA}" dt="2023-04-19T12:00:15.116" v="452" actId="20577"/>
          <ac:spMkLst>
            <pc:docMk/>
            <pc:sldMk cId="433890173" sldId="284"/>
            <ac:spMk id="85" creationId="{893F8E98-7B4F-DE93-E084-1EBEE916E050}"/>
          </ac:spMkLst>
        </pc:spChg>
        <pc:spChg chg="mod">
          <ac:chgData name="Frances Meek" userId="f3af35cc-3229-46e1-af36-3525661cfbd3" providerId="ADAL" clId="{402734F4-ED68-41EE-9F3D-3834E7938ECA}" dt="2023-04-19T12:01:53.067" v="502" actId="13926"/>
          <ac:spMkLst>
            <pc:docMk/>
            <pc:sldMk cId="433890173" sldId="284"/>
            <ac:spMk id="87" creationId="{157E4EE1-D3EF-100C-BE7A-A3AC2B101911}"/>
          </ac:spMkLst>
        </pc:spChg>
        <pc:picChg chg="add mod">
          <ac:chgData name="Frances Meek" userId="f3af35cc-3229-46e1-af36-3525661cfbd3" providerId="ADAL" clId="{402734F4-ED68-41EE-9F3D-3834E7938ECA}" dt="2023-04-19T12:00:33.695" v="458" actId="14100"/>
          <ac:picMkLst>
            <pc:docMk/>
            <pc:sldMk cId="433890173" sldId="284"/>
            <ac:picMk id="3" creationId="{FA878275-59E0-8AF2-DA70-58C4C96F34F4}"/>
          </ac:picMkLst>
        </pc:picChg>
        <pc:picChg chg="del">
          <ac:chgData name="Frances Meek" userId="f3af35cc-3229-46e1-af36-3525661cfbd3" providerId="ADAL" clId="{402734F4-ED68-41EE-9F3D-3834E7938ECA}" dt="2023-04-19T12:00:17.477" v="453" actId="478"/>
          <ac:picMkLst>
            <pc:docMk/>
            <pc:sldMk cId="433890173" sldId="284"/>
            <ac:picMk id="8" creationId="{9372EF8A-9B01-3056-CEB7-9E45DFABC61F}"/>
          </ac:picMkLst>
        </pc:picChg>
      </pc:sldChg>
      <pc:sldChg chg="modSp mod">
        <pc:chgData name="Frances Meek" userId="f3af35cc-3229-46e1-af36-3525661cfbd3" providerId="ADAL" clId="{402734F4-ED68-41EE-9F3D-3834E7938ECA}" dt="2023-04-19T11:47:36.064" v="12" actId="20577"/>
        <pc:sldMkLst>
          <pc:docMk/>
          <pc:sldMk cId="281221578" sldId="297"/>
        </pc:sldMkLst>
        <pc:spChg chg="mod">
          <ac:chgData name="Frances Meek" userId="f3af35cc-3229-46e1-af36-3525661cfbd3" providerId="ADAL" clId="{402734F4-ED68-41EE-9F3D-3834E7938ECA}" dt="2023-04-19T11:47:26.562" v="1" actId="20577"/>
          <ac:spMkLst>
            <pc:docMk/>
            <pc:sldMk cId="281221578" sldId="297"/>
            <ac:spMk id="5" creationId="{1FC6508E-64EC-F921-D891-4D25C5E6ACE7}"/>
          </ac:spMkLst>
        </pc:spChg>
        <pc:spChg chg="mod">
          <ac:chgData name="Frances Meek" userId="f3af35cc-3229-46e1-af36-3525661cfbd3" providerId="ADAL" clId="{402734F4-ED68-41EE-9F3D-3834E7938ECA}" dt="2023-04-19T11:47:36.064" v="12" actId="20577"/>
          <ac:spMkLst>
            <pc:docMk/>
            <pc:sldMk cId="281221578" sldId="297"/>
            <ac:spMk id="6" creationId="{F252EFDA-B7E9-31A3-0815-54BAB0925F75}"/>
          </ac:spMkLst>
        </pc:spChg>
      </pc:sldChg>
      <pc:sldChg chg="modSp mod">
        <pc:chgData name="Frances Meek" userId="f3af35cc-3229-46e1-af36-3525661cfbd3" providerId="ADAL" clId="{402734F4-ED68-41EE-9F3D-3834E7938ECA}" dt="2023-04-19T12:03:09.425" v="521" actId="20577"/>
        <pc:sldMkLst>
          <pc:docMk/>
          <pc:sldMk cId="4161811288" sldId="321"/>
        </pc:sldMkLst>
        <pc:spChg chg="mod">
          <ac:chgData name="Frances Meek" userId="f3af35cc-3229-46e1-af36-3525661cfbd3" providerId="ADAL" clId="{402734F4-ED68-41EE-9F3D-3834E7938ECA}" dt="2023-04-19T12:03:09.425" v="521" actId="20577"/>
          <ac:spMkLst>
            <pc:docMk/>
            <pc:sldMk cId="4161811288" sldId="321"/>
            <ac:spMk id="4" creationId="{8573D8A7-B8E2-EA1D-4ECE-3A7CD218FFFA}"/>
          </ac:spMkLst>
        </pc:spChg>
      </pc:sldChg>
      <pc:sldChg chg="addSp delSp modSp mod delAnim">
        <pc:chgData name="Frances Meek" userId="f3af35cc-3229-46e1-af36-3525661cfbd3" providerId="ADAL" clId="{402734F4-ED68-41EE-9F3D-3834E7938ECA}" dt="2023-04-19T11:55:32.297" v="263" actId="13926"/>
        <pc:sldMkLst>
          <pc:docMk/>
          <pc:sldMk cId="2163111731" sldId="2186"/>
        </pc:sldMkLst>
        <pc:spChg chg="add del mod">
          <ac:chgData name="Frances Meek" userId="f3af35cc-3229-46e1-af36-3525661cfbd3" providerId="ADAL" clId="{402734F4-ED68-41EE-9F3D-3834E7938ECA}" dt="2023-04-19T11:55:17.242" v="232" actId="478"/>
          <ac:spMkLst>
            <pc:docMk/>
            <pc:sldMk cId="2163111731" sldId="2186"/>
            <ac:spMk id="6" creationId="{411DD750-0C56-FB52-39A6-11382FA91267}"/>
          </ac:spMkLst>
        </pc:spChg>
        <pc:spChg chg="mod">
          <ac:chgData name="Frances Meek" userId="f3af35cc-3229-46e1-af36-3525661cfbd3" providerId="ADAL" clId="{402734F4-ED68-41EE-9F3D-3834E7938ECA}" dt="2023-04-19T11:55:32.297" v="263" actId="13926"/>
          <ac:spMkLst>
            <pc:docMk/>
            <pc:sldMk cId="2163111731" sldId="2186"/>
            <ac:spMk id="49" creationId="{F5F81E81-DC92-BF51-59D1-948E22252525}"/>
          </ac:spMkLst>
        </pc:spChg>
        <pc:picChg chg="add mod">
          <ac:chgData name="Frances Meek" userId="f3af35cc-3229-46e1-af36-3525661cfbd3" providerId="ADAL" clId="{402734F4-ED68-41EE-9F3D-3834E7938ECA}" dt="2023-04-19T11:54:23.194" v="147" actId="962"/>
          <ac:picMkLst>
            <pc:docMk/>
            <pc:sldMk cId="2163111731" sldId="2186"/>
            <ac:picMk id="3" creationId="{B0B8E2D8-7C66-63F0-DD2E-8A47E4FCD2BE}"/>
          </ac:picMkLst>
        </pc:picChg>
        <pc:picChg chg="add mod">
          <ac:chgData name="Frances Meek" userId="f3af35cc-3229-46e1-af36-3525661cfbd3" providerId="ADAL" clId="{402734F4-ED68-41EE-9F3D-3834E7938ECA}" dt="2023-04-19T11:54:40.487" v="152" actId="962"/>
          <ac:picMkLst>
            <pc:docMk/>
            <pc:sldMk cId="2163111731" sldId="2186"/>
            <ac:picMk id="5" creationId="{D6DEA916-A814-235A-D309-4616B2BC2002}"/>
          </ac:picMkLst>
        </pc:picChg>
        <pc:picChg chg="del">
          <ac:chgData name="Frances Meek" userId="f3af35cc-3229-46e1-af36-3525661cfbd3" providerId="ADAL" clId="{402734F4-ED68-41EE-9F3D-3834E7938ECA}" dt="2023-04-19T11:54:15.239" v="143" actId="478"/>
          <ac:picMkLst>
            <pc:docMk/>
            <pc:sldMk cId="2163111731" sldId="2186"/>
            <ac:picMk id="48" creationId="{FFF8A57C-61ED-59F2-03FF-8DD9638F275B}"/>
          </ac:picMkLst>
        </pc:picChg>
        <pc:picChg chg="del">
          <ac:chgData name="Frances Meek" userId="f3af35cc-3229-46e1-af36-3525661cfbd3" providerId="ADAL" clId="{402734F4-ED68-41EE-9F3D-3834E7938ECA}" dt="2023-04-19T11:54:32.327" v="148" actId="478"/>
          <ac:picMkLst>
            <pc:docMk/>
            <pc:sldMk cId="2163111731" sldId="2186"/>
            <ac:picMk id="53" creationId="{7982C428-D9C9-B761-CCE1-8BD12E1189E7}"/>
          </ac:picMkLst>
        </pc:picChg>
      </pc:sldChg>
      <pc:sldChg chg="modSp mod">
        <pc:chgData name="Frances Meek" userId="f3af35cc-3229-46e1-af36-3525661cfbd3" providerId="ADAL" clId="{402734F4-ED68-41EE-9F3D-3834E7938ECA}" dt="2023-04-19T11:53:36.565" v="141" actId="5793"/>
        <pc:sldMkLst>
          <pc:docMk/>
          <pc:sldMk cId="3823514749" sldId="2188"/>
        </pc:sldMkLst>
        <pc:spChg chg="mod">
          <ac:chgData name="Frances Meek" userId="f3af35cc-3229-46e1-af36-3525661cfbd3" providerId="ADAL" clId="{402734F4-ED68-41EE-9F3D-3834E7938ECA}" dt="2023-04-19T11:53:36.565" v="141" actId="5793"/>
          <ac:spMkLst>
            <pc:docMk/>
            <pc:sldMk cId="3823514749" sldId="2188"/>
            <ac:spMk id="4" creationId="{4A8CC93A-77B7-9746-DCAA-805092D6A98B}"/>
          </ac:spMkLst>
        </pc:spChg>
      </pc:sldChg>
      <pc:sldChg chg="addSp delSp modSp mod">
        <pc:chgData name="Frances Meek" userId="f3af35cc-3229-46e1-af36-3525661cfbd3" providerId="ADAL" clId="{402734F4-ED68-41EE-9F3D-3834E7938ECA}" dt="2023-04-19T11:59:32.537" v="435" actId="14100"/>
        <pc:sldMkLst>
          <pc:docMk/>
          <pc:sldMk cId="3910789299" sldId="2197"/>
        </pc:sldMkLst>
        <pc:picChg chg="add mod">
          <ac:chgData name="Frances Meek" userId="f3af35cc-3229-46e1-af36-3525661cfbd3" providerId="ADAL" clId="{402734F4-ED68-41EE-9F3D-3834E7938ECA}" dt="2023-04-19T11:59:32.537" v="435" actId="14100"/>
          <ac:picMkLst>
            <pc:docMk/>
            <pc:sldMk cId="3910789299" sldId="2197"/>
            <ac:picMk id="2" creationId="{17227D6A-80EB-FEE3-E205-7042027B5F0E}"/>
          </ac:picMkLst>
        </pc:picChg>
        <pc:picChg chg="del">
          <ac:chgData name="Frances Meek" userId="f3af35cc-3229-46e1-af36-3525661cfbd3" providerId="ADAL" clId="{402734F4-ED68-41EE-9F3D-3834E7938ECA}" dt="2023-04-19T11:59:26.269" v="432" actId="478"/>
          <ac:picMkLst>
            <pc:docMk/>
            <pc:sldMk cId="3910789299" sldId="2197"/>
            <ac:picMk id="4" creationId="{2D92A1B8-4CF7-D0F8-9F46-7F4E45ED10C2}"/>
          </ac:picMkLst>
        </pc:picChg>
      </pc:sldChg>
      <pc:sldChg chg="modSp mod">
        <pc:chgData name="Frances Meek" userId="f3af35cc-3229-46e1-af36-3525661cfbd3" providerId="ADAL" clId="{402734F4-ED68-41EE-9F3D-3834E7938ECA}" dt="2023-04-19T12:38:38.654" v="1189" actId="692"/>
        <pc:sldMkLst>
          <pc:docMk/>
          <pc:sldMk cId="252039702" sldId="2201"/>
        </pc:sldMkLst>
        <pc:picChg chg="mod">
          <ac:chgData name="Frances Meek" userId="f3af35cc-3229-46e1-af36-3525661cfbd3" providerId="ADAL" clId="{402734F4-ED68-41EE-9F3D-3834E7938ECA}" dt="2023-04-19T12:38:38.654" v="1189" actId="692"/>
          <ac:picMkLst>
            <pc:docMk/>
            <pc:sldMk cId="252039702" sldId="2201"/>
            <ac:picMk id="4" creationId="{8D12B943-AEB1-100E-83AB-48FB960F9F5E}"/>
          </ac:picMkLst>
        </pc:picChg>
      </pc:sldChg>
      <pc:sldChg chg="addSp delSp modSp mod">
        <pc:chgData name="Frances Meek" userId="f3af35cc-3229-46e1-af36-3525661cfbd3" providerId="ADAL" clId="{402734F4-ED68-41EE-9F3D-3834E7938ECA}" dt="2023-04-19T11:59:41.472" v="439" actId="1076"/>
        <pc:sldMkLst>
          <pc:docMk/>
          <pc:sldMk cId="159678450" sldId="2202"/>
        </pc:sldMkLst>
        <pc:picChg chg="add mod">
          <ac:chgData name="Frances Meek" userId="f3af35cc-3229-46e1-af36-3525661cfbd3" providerId="ADAL" clId="{402734F4-ED68-41EE-9F3D-3834E7938ECA}" dt="2023-04-19T11:59:41.472" v="439" actId="1076"/>
          <ac:picMkLst>
            <pc:docMk/>
            <pc:sldMk cId="159678450" sldId="2202"/>
            <ac:picMk id="3" creationId="{67540F30-9C10-9B0D-E789-3721D79924DC}"/>
          </ac:picMkLst>
        </pc:picChg>
        <pc:picChg chg="del">
          <ac:chgData name="Frances Meek" userId="f3af35cc-3229-46e1-af36-3525661cfbd3" providerId="ADAL" clId="{402734F4-ED68-41EE-9F3D-3834E7938ECA}" dt="2023-04-19T11:59:35.002" v="436" actId="478"/>
          <ac:picMkLst>
            <pc:docMk/>
            <pc:sldMk cId="159678450" sldId="2202"/>
            <ac:picMk id="12" creationId="{450B171A-915E-787D-E02F-0D202F25794D}"/>
          </ac:picMkLst>
        </pc:picChg>
      </pc:sldChg>
      <pc:sldChg chg="addCm">
        <pc:chgData name="Frances Meek" userId="f3af35cc-3229-46e1-af36-3525661cfbd3" providerId="ADAL" clId="{402734F4-ED68-41EE-9F3D-3834E7938ECA}" dt="2023-04-19T11:59:08.516" v="431"/>
        <pc:sldMkLst>
          <pc:docMk/>
          <pc:sldMk cId="1743459186" sldId="220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Frances Meek" userId="f3af35cc-3229-46e1-af36-3525661cfbd3" providerId="ADAL" clId="{402734F4-ED68-41EE-9F3D-3834E7938ECA}" dt="2023-04-19T11:59:08.516" v="431"/>
              <pc2:cmMkLst xmlns:pc2="http://schemas.microsoft.com/office/powerpoint/2019/9/main/command">
                <pc:docMk/>
                <pc:sldMk cId="1743459186" sldId="2203"/>
                <pc2:cmMk id="{133744FF-28F6-41B5-B11E-9DDDE209DAB0}"/>
              </pc2:cmMkLst>
            </pc226:cmChg>
          </p:ext>
        </pc:extLst>
      </pc:sldChg>
      <pc:sldChg chg="addSp delSp modSp mod addCm">
        <pc:chgData name="Frances Meek" userId="f3af35cc-3229-46e1-af36-3525661cfbd3" providerId="ADAL" clId="{402734F4-ED68-41EE-9F3D-3834E7938ECA}" dt="2023-04-19T11:58:29.804" v="430"/>
        <pc:sldMkLst>
          <pc:docMk/>
          <pc:sldMk cId="1485348504" sldId="2208"/>
        </pc:sldMkLst>
        <pc:spChg chg="mod">
          <ac:chgData name="Frances Meek" userId="f3af35cc-3229-46e1-af36-3525661cfbd3" providerId="ADAL" clId="{402734F4-ED68-41EE-9F3D-3834E7938ECA}" dt="2023-04-19T11:56:55.918" v="298" actId="20577"/>
          <ac:spMkLst>
            <pc:docMk/>
            <pc:sldMk cId="1485348504" sldId="2208"/>
            <ac:spMk id="2" creationId="{096E14F1-9038-5C5A-93FB-11A59C9F3489}"/>
          </ac:spMkLst>
        </pc:spChg>
        <pc:spChg chg="mod">
          <ac:chgData name="Frances Meek" userId="f3af35cc-3229-46e1-af36-3525661cfbd3" providerId="ADAL" clId="{402734F4-ED68-41EE-9F3D-3834E7938ECA}" dt="2023-04-19T11:58:08.891" v="429" actId="20577"/>
          <ac:spMkLst>
            <pc:docMk/>
            <pc:sldMk cId="1485348504" sldId="2208"/>
            <ac:spMk id="4" creationId="{2841E70A-C562-419A-E213-EB1990514F66}"/>
          </ac:spMkLst>
        </pc:spChg>
        <pc:picChg chg="add mod">
          <ac:chgData name="Frances Meek" userId="f3af35cc-3229-46e1-af36-3525661cfbd3" providerId="ADAL" clId="{402734F4-ED68-41EE-9F3D-3834E7938ECA}" dt="2023-04-19T11:56:51.427" v="267" actId="27614"/>
          <ac:picMkLst>
            <pc:docMk/>
            <pc:sldMk cId="1485348504" sldId="2208"/>
            <ac:picMk id="5" creationId="{9CCC0D67-03CB-826C-A1B5-4A78EDC20627}"/>
          </ac:picMkLst>
        </pc:picChg>
        <pc:picChg chg="del">
          <ac:chgData name="Frances Meek" userId="f3af35cc-3229-46e1-af36-3525661cfbd3" providerId="ADAL" clId="{402734F4-ED68-41EE-9F3D-3834E7938ECA}" dt="2023-04-19T11:56:01.461" v="264" actId="478"/>
          <ac:picMkLst>
            <pc:docMk/>
            <pc:sldMk cId="1485348504" sldId="2208"/>
            <ac:picMk id="10" creationId="{A8A7CDA1-5585-1A68-58A4-B2FB97804E8A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Frances Meek" userId="f3af35cc-3229-46e1-af36-3525661cfbd3" providerId="ADAL" clId="{402734F4-ED68-41EE-9F3D-3834E7938ECA}" dt="2023-04-19T11:58:29.804" v="430"/>
              <pc2:cmMkLst xmlns:pc2="http://schemas.microsoft.com/office/powerpoint/2019/9/main/command">
                <pc:docMk/>
                <pc:sldMk cId="1485348504" sldId="2208"/>
                <pc2:cmMk id="{C41FB589-22EC-48C9-A931-820231E060D8}"/>
              </pc2:cmMkLst>
            </pc226:cmChg>
          </p:ext>
        </pc:extLst>
      </pc:sldChg>
      <pc:sldChg chg="addSp delSp modSp new mod addCm">
        <pc:chgData name="Frances Meek" userId="f3af35cc-3229-46e1-af36-3525661cfbd3" providerId="ADAL" clId="{402734F4-ED68-41EE-9F3D-3834E7938ECA}" dt="2023-04-19T12:39:56.734" v="1209" actId="692"/>
        <pc:sldMkLst>
          <pc:docMk/>
          <pc:sldMk cId="2292398585" sldId="2210"/>
        </pc:sldMkLst>
        <pc:spChg chg="mod">
          <ac:chgData name="Frances Meek" userId="f3af35cc-3229-46e1-af36-3525661cfbd3" providerId="ADAL" clId="{402734F4-ED68-41EE-9F3D-3834E7938ECA}" dt="2023-04-19T12:05:49.315" v="590" actId="20577"/>
          <ac:spMkLst>
            <pc:docMk/>
            <pc:sldMk cId="2292398585" sldId="2210"/>
            <ac:spMk id="2" creationId="{18738C63-93F0-F0EB-C040-9EB5FD9C2067}"/>
          </ac:spMkLst>
        </pc:spChg>
        <pc:spChg chg="add mod">
          <ac:chgData name="Frances Meek" userId="f3af35cc-3229-46e1-af36-3525661cfbd3" providerId="ADAL" clId="{402734F4-ED68-41EE-9F3D-3834E7938ECA}" dt="2023-04-19T12:08:14.670" v="671" actId="2711"/>
          <ac:spMkLst>
            <pc:docMk/>
            <pc:sldMk cId="2292398585" sldId="2210"/>
            <ac:spMk id="3" creationId="{1621C55C-0916-AF3E-059B-EE4B8FBACFC7}"/>
          </ac:spMkLst>
        </pc:spChg>
        <pc:spChg chg="add mod">
          <ac:chgData name="Frances Meek" userId="f3af35cc-3229-46e1-af36-3525661cfbd3" providerId="ADAL" clId="{402734F4-ED68-41EE-9F3D-3834E7938ECA}" dt="2023-04-19T12:37:55.268" v="1187" actId="2711"/>
          <ac:spMkLst>
            <pc:docMk/>
            <pc:sldMk cId="2292398585" sldId="2210"/>
            <ac:spMk id="7" creationId="{F235FDE1-6A08-BFC7-9A25-DF5AFDC3E65E}"/>
          </ac:spMkLst>
        </pc:spChg>
        <pc:spChg chg="add mod">
          <ac:chgData name="Frances Meek" userId="f3af35cc-3229-46e1-af36-3525661cfbd3" providerId="ADAL" clId="{402734F4-ED68-41EE-9F3D-3834E7938ECA}" dt="2023-04-19T12:37:48.132" v="1186" actId="113"/>
          <ac:spMkLst>
            <pc:docMk/>
            <pc:sldMk cId="2292398585" sldId="2210"/>
            <ac:spMk id="17" creationId="{D5953A33-7A73-08CC-8F7D-3D5EF1830CB9}"/>
          </ac:spMkLst>
        </pc:spChg>
        <pc:picChg chg="add mod">
          <ac:chgData name="Frances Meek" userId="f3af35cc-3229-46e1-af36-3525661cfbd3" providerId="ADAL" clId="{402734F4-ED68-41EE-9F3D-3834E7938ECA}" dt="2023-04-19T12:08:26.336" v="673" actId="1076"/>
          <ac:picMkLst>
            <pc:docMk/>
            <pc:sldMk cId="2292398585" sldId="2210"/>
            <ac:picMk id="4" creationId="{059A6753-AA68-2F6D-B3B0-03B25229D30B}"/>
          </ac:picMkLst>
        </pc:picChg>
        <pc:picChg chg="add mod">
          <ac:chgData name="Frances Meek" userId="f3af35cc-3229-46e1-af36-3525661cfbd3" providerId="ADAL" clId="{402734F4-ED68-41EE-9F3D-3834E7938ECA}" dt="2023-04-19T12:39:56.734" v="1209" actId="692"/>
          <ac:picMkLst>
            <pc:docMk/>
            <pc:sldMk cId="2292398585" sldId="2210"/>
            <ac:picMk id="6" creationId="{243371E1-8656-3DE5-C396-8841954F48F2}"/>
          </ac:picMkLst>
        </pc:picChg>
        <pc:picChg chg="add del">
          <ac:chgData name="Frances Meek" userId="f3af35cc-3229-46e1-af36-3525661cfbd3" providerId="ADAL" clId="{402734F4-ED68-41EE-9F3D-3834E7938ECA}" dt="2023-04-19T12:34:12.311" v="1152" actId="478"/>
          <ac:picMkLst>
            <pc:docMk/>
            <pc:sldMk cId="2292398585" sldId="2210"/>
            <ac:picMk id="9" creationId="{79A9253A-FB5E-0C6D-B748-6E796BC98581}"/>
          </ac:picMkLst>
        </pc:picChg>
        <pc:picChg chg="add del mod">
          <ac:chgData name="Frances Meek" userId="f3af35cc-3229-46e1-af36-3525661cfbd3" providerId="ADAL" clId="{402734F4-ED68-41EE-9F3D-3834E7938ECA}" dt="2023-04-19T12:36:14.341" v="1163" actId="478"/>
          <ac:picMkLst>
            <pc:docMk/>
            <pc:sldMk cId="2292398585" sldId="2210"/>
            <ac:picMk id="11" creationId="{03C57C4F-26D6-1022-BC1F-C7D4B72ADB96}"/>
          </ac:picMkLst>
        </pc:picChg>
        <pc:picChg chg="add del mod">
          <ac:chgData name="Frances Meek" userId="f3af35cc-3229-46e1-af36-3525661cfbd3" providerId="ADAL" clId="{402734F4-ED68-41EE-9F3D-3834E7938ECA}" dt="2023-04-19T12:36:21.420" v="1168" actId="478"/>
          <ac:picMkLst>
            <pc:docMk/>
            <pc:sldMk cId="2292398585" sldId="2210"/>
            <ac:picMk id="13" creationId="{097D9636-2865-2851-CA87-B9AE7EAE2BDF}"/>
          </ac:picMkLst>
        </pc:picChg>
        <pc:picChg chg="add mod">
          <ac:chgData name="Frances Meek" userId="f3af35cc-3229-46e1-af36-3525661cfbd3" providerId="ADAL" clId="{402734F4-ED68-41EE-9F3D-3834E7938ECA}" dt="2023-04-19T12:39:56.734" v="1209" actId="692"/>
          <ac:picMkLst>
            <pc:docMk/>
            <pc:sldMk cId="2292398585" sldId="2210"/>
            <ac:picMk id="15" creationId="{DC998AEC-0E98-6B4B-6292-2B1E2FE496C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Frances Meek" userId="f3af35cc-3229-46e1-af36-3525661cfbd3" providerId="ADAL" clId="{402734F4-ED68-41EE-9F3D-3834E7938ECA}" dt="2023-04-19T12:06:02.842" v="591"/>
              <pc2:cmMkLst xmlns:pc2="http://schemas.microsoft.com/office/powerpoint/2019/9/main/command">
                <pc:docMk/>
                <pc:sldMk cId="2292398585" sldId="2210"/>
                <pc2:cmMk id="{1A7A3A57-C8F9-45AC-992B-56CA7DB81349}"/>
              </pc2:cmMkLst>
            </pc226:cmChg>
          </p:ext>
        </pc:extLst>
      </pc:sldChg>
      <pc:sldChg chg="modSp new del mod">
        <pc:chgData name="Frances Meek" userId="f3af35cc-3229-46e1-af36-3525661cfbd3" providerId="ADAL" clId="{402734F4-ED68-41EE-9F3D-3834E7938ECA}" dt="2023-04-19T11:53:38.639" v="142" actId="47"/>
        <pc:sldMkLst>
          <pc:docMk/>
          <pc:sldMk cId="3372725624" sldId="2210"/>
        </pc:sldMkLst>
        <pc:spChg chg="mod">
          <ac:chgData name="Frances Meek" userId="f3af35cc-3229-46e1-af36-3525661cfbd3" providerId="ADAL" clId="{402734F4-ED68-41EE-9F3D-3834E7938ECA}" dt="2023-04-19T11:51:28.295" v="108" actId="20577"/>
          <ac:spMkLst>
            <pc:docMk/>
            <pc:sldMk cId="3372725624" sldId="2210"/>
            <ac:spMk id="2" creationId="{2B213F48-B1CC-8A5E-286B-5A480DA3CFCF}"/>
          </ac:spMkLst>
        </pc:spChg>
        <pc:spChg chg="mod">
          <ac:chgData name="Frances Meek" userId="f3af35cc-3229-46e1-af36-3525661cfbd3" providerId="ADAL" clId="{402734F4-ED68-41EE-9F3D-3834E7938ECA}" dt="2023-04-19T11:53:07.034" v="135" actId="20577"/>
          <ac:spMkLst>
            <pc:docMk/>
            <pc:sldMk cId="3372725624" sldId="2210"/>
            <ac:spMk id="4" creationId="{3DC2B0EB-994B-5CDB-91B6-F256B323C5E8}"/>
          </ac:spMkLst>
        </pc:spChg>
      </pc:sldChg>
      <pc:sldChg chg="addSp modSp new mod">
        <pc:chgData name="Frances Meek" userId="f3af35cc-3229-46e1-af36-3525661cfbd3" providerId="ADAL" clId="{402734F4-ED68-41EE-9F3D-3834E7938ECA}" dt="2023-04-19T12:17:53.534" v="1002" actId="1076"/>
        <pc:sldMkLst>
          <pc:docMk/>
          <pc:sldMk cId="2888759159" sldId="2211"/>
        </pc:sldMkLst>
        <pc:spChg chg="mod">
          <ac:chgData name="Frances Meek" userId="f3af35cc-3229-46e1-af36-3525661cfbd3" providerId="ADAL" clId="{402734F4-ED68-41EE-9F3D-3834E7938ECA}" dt="2023-04-19T12:12:21.511" v="705" actId="20577"/>
          <ac:spMkLst>
            <pc:docMk/>
            <pc:sldMk cId="2888759159" sldId="2211"/>
            <ac:spMk id="2" creationId="{7FE946B8-7332-189C-DD69-FB2121F365F2}"/>
          </ac:spMkLst>
        </pc:spChg>
        <pc:spChg chg="add mod">
          <ac:chgData name="Frances Meek" userId="f3af35cc-3229-46e1-af36-3525661cfbd3" providerId="ADAL" clId="{402734F4-ED68-41EE-9F3D-3834E7938ECA}" dt="2023-04-19T12:12:42.326" v="746" actId="20577"/>
          <ac:spMkLst>
            <pc:docMk/>
            <pc:sldMk cId="2888759159" sldId="2211"/>
            <ac:spMk id="5" creationId="{0EDB48C4-D950-826C-9E66-BA8F2B108C7C}"/>
          </ac:spMkLst>
        </pc:spChg>
        <pc:spChg chg="add mod">
          <ac:chgData name="Frances Meek" userId="f3af35cc-3229-46e1-af36-3525661cfbd3" providerId="ADAL" clId="{402734F4-ED68-41EE-9F3D-3834E7938ECA}" dt="2023-04-19T12:17:39.998" v="998" actId="1076"/>
          <ac:spMkLst>
            <pc:docMk/>
            <pc:sldMk cId="2888759159" sldId="2211"/>
            <ac:spMk id="6" creationId="{776049B8-B104-0C58-E8A6-1DF6942D1191}"/>
          </ac:spMkLst>
        </pc:spChg>
        <pc:spChg chg="add mod">
          <ac:chgData name="Frances Meek" userId="f3af35cc-3229-46e1-af36-3525661cfbd3" providerId="ADAL" clId="{402734F4-ED68-41EE-9F3D-3834E7938ECA}" dt="2023-04-19T12:17:43.302" v="999" actId="1076"/>
          <ac:spMkLst>
            <pc:docMk/>
            <pc:sldMk cId="2888759159" sldId="2211"/>
            <ac:spMk id="10" creationId="{47265341-54B7-DA03-D70F-74DB499A89CB}"/>
          </ac:spMkLst>
        </pc:spChg>
        <pc:picChg chg="add mod">
          <ac:chgData name="Frances Meek" userId="f3af35cc-3229-46e1-af36-3525661cfbd3" providerId="ADAL" clId="{402734F4-ED68-41EE-9F3D-3834E7938ECA}" dt="2023-04-19T12:17:51.509" v="1001" actId="1076"/>
          <ac:picMkLst>
            <pc:docMk/>
            <pc:sldMk cId="2888759159" sldId="2211"/>
            <ac:picMk id="3" creationId="{F6ED3764-08FC-A7C6-5DCA-E57039B42FA5}"/>
          </ac:picMkLst>
        </pc:picChg>
        <pc:picChg chg="add mod">
          <ac:chgData name="Frances Meek" userId="f3af35cc-3229-46e1-af36-3525661cfbd3" providerId="ADAL" clId="{402734F4-ED68-41EE-9F3D-3834E7938ECA}" dt="2023-04-19T12:17:53.534" v="1002" actId="1076"/>
          <ac:picMkLst>
            <pc:docMk/>
            <pc:sldMk cId="2888759159" sldId="2211"/>
            <ac:picMk id="4" creationId="{C2B61416-315A-736F-AD83-D2E79AD177EA}"/>
          </ac:picMkLst>
        </pc:picChg>
        <pc:picChg chg="add mod">
          <ac:chgData name="Frances Meek" userId="f3af35cc-3229-46e1-af36-3525661cfbd3" providerId="ADAL" clId="{402734F4-ED68-41EE-9F3D-3834E7938ECA}" dt="2023-04-19T12:15:02.095" v="907" actId="1076"/>
          <ac:picMkLst>
            <pc:docMk/>
            <pc:sldMk cId="2888759159" sldId="2211"/>
            <ac:picMk id="7" creationId="{D499C600-EBF3-AAD1-D921-012167A1D4A9}"/>
          </ac:picMkLst>
        </pc:picChg>
        <pc:picChg chg="add mod">
          <ac:chgData name="Frances Meek" userId="f3af35cc-3229-46e1-af36-3525661cfbd3" providerId="ADAL" clId="{402734F4-ED68-41EE-9F3D-3834E7938ECA}" dt="2023-04-19T12:15:00.902" v="906" actId="1076"/>
          <ac:picMkLst>
            <pc:docMk/>
            <pc:sldMk cId="2888759159" sldId="2211"/>
            <ac:picMk id="8" creationId="{1D723009-A58A-2BB0-201E-6B075D0BFD3B}"/>
          </ac:picMkLst>
        </pc:picChg>
        <pc:picChg chg="add mod">
          <ac:chgData name="Frances Meek" userId="f3af35cc-3229-46e1-af36-3525661cfbd3" providerId="ADAL" clId="{402734F4-ED68-41EE-9F3D-3834E7938ECA}" dt="2023-04-19T12:15:03.502" v="908" actId="1076"/>
          <ac:picMkLst>
            <pc:docMk/>
            <pc:sldMk cId="2888759159" sldId="2211"/>
            <ac:picMk id="9" creationId="{DBB59FBD-5774-1637-0901-BA96C4E066DB}"/>
          </ac:picMkLst>
        </pc:picChg>
      </pc:sldChg>
      <pc:sldChg chg="addSp modSp new mod">
        <pc:chgData name="Frances Meek" userId="f3af35cc-3229-46e1-af36-3525661cfbd3" providerId="ADAL" clId="{402734F4-ED68-41EE-9F3D-3834E7938ECA}" dt="2023-04-19T12:48:05.675" v="1336" actId="1076"/>
        <pc:sldMkLst>
          <pc:docMk/>
          <pc:sldMk cId="975181020" sldId="2212"/>
        </pc:sldMkLst>
        <pc:spChg chg="mod">
          <ac:chgData name="Frances Meek" userId="f3af35cc-3229-46e1-af36-3525661cfbd3" providerId="ADAL" clId="{402734F4-ED68-41EE-9F3D-3834E7938ECA}" dt="2023-04-19T12:40:21.411" v="1230" actId="20577"/>
          <ac:spMkLst>
            <pc:docMk/>
            <pc:sldMk cId="975181020" sldId="2212"/>
            <ac:spMk id="2" creationId="{3B438172-7789-E3ED-E8E2-CEBC42EC1E2E}"/>
          </ac:spMkLst>
        </pc:spChg>
        <pc:spChg chg="add mod">
          <ac:chgData name="Frances Meek" userId="f3af35cc-3229-46e1-af36-3525661cfbd3" providerId="ADAL" clId="{402734F4-ED68-41EE-9F3D-3834E7938ECA}" dt="2023-04-19T12:47:28.815" v="1267" actId="20577"/>
          <ac:spMkLst>
            <pc:docMk/>
            <pc:sldMk cId="975181020" sldId="2212"/>
            <ac:spMk id="3" creationId="{7538ABD7-5CEC-5596-C211-062EF2819B6D}"/>
          </ac:spMkLst>
        </pc:spChg>
        <pc:spChg chg="add mod">
          <ac:chgData name="Frances Meek" userId="f3af35cc-3229-46e1-af36-3525661cfbd3" providerId="ADAL" clId="{402734F4-ED68-41EE-9F3D-3834E7938ECA}" dt="2023-04-19T12:48:01.794" v="1334" actId="1076"/>
          <ac:spMkLst>
            <pc:docMk/>
            <pc:sldMk cId="975181020" sldId="2212"/>
            <ac:spMk id="7" creationId="{3132D9EB-9625-BD02-2683-3896F0781264}"/>
          </ac:spMkLst>
        </pc:spChg>
        <pc:spChg chg="add mod">
          <ac:chgData name="Frances Meek" userId="f3af35cc-3229-46e1-af36-3525661cfbd3" providerId="ADAL" clId="{402734F4-ED68-41EE-9F3D-3834E7938ECA}" dt="2023-04-19T12:48:05.675" v="1336" actId="1076"/>
          <ac:spMkLst>
            <pc:docMk/>
            <pc:sldMk cId="975181020" sldId="2212"/>
            <ac:spMk id="8" creationId="{4162095C-A4DE-597F-2AB2-A576487BFAB4}"/>
          </ac:spMkLst>
        </pc:spChg>
        <pc:picChg chg="add mod">
          <ac:chgData name="Frances Meek" userId="f3af35cc-3229-46e1-af36-3525661cfbd3" providerId="ADAL" clId="{402734F4-ED68-41EE-9F3D-3834E7938ECA}" dt="2023-04-19T12:44:34.195" v="1241" actId="1076"/>
          <ac:picMkLst>
            <pc:docMk/>
            <pc:sldMk cId="975181020" sldId="2212"/>
            <ac:picMk id="5" creationId="{8CEAF87E-016B-DB9C-A39A-62AA37356962}"/>
          </ac:picMkLst>
        </pc:picChg>
        <pc:picChg chg="add mod">
          <ac:chgData name="Frances Meek" userId="f3af35cc-3229-46e1-af36-3525661cfbd3" providerId="ADAL" clId="{402734F4-ED68-41EE-9F3D-3834E7938ECA}" dt="2023-04-19T12:48:03.035" v="1335" actId="1076"/>
          <ac:picMkLst>
            <pc:docMk/>
            <pc:sldMk cId="975181020" sldId="2212"/>
            <ac:picMk id="1026" creationId="{2E757EBC-8724-452E-122D-8D15E0B67606}"/>
          </ac:picMkLst>
        </pc:picChg>
      </pc:sldChg>
      <pc:sldChg chg="addSp delSp modSp mod">
        <pc:chgData name="Frances Meek" userId="f3af35cc-3229-46e1-af36-3525661cfbd3" providerId="ADAL" clId="{402734F4-ED68-41EE-9F3D-3834E7938ECA}" dt="2023-04-19T12:58:27.100" v="1799" actId="14100"/>
        <pc:sldMkLst>
          <pc:docMk/>
          <pc:sldMk cId="1615956032" sldId="2213"/>
        </pc:sldMkLst>
        <pc:spChg chg="mod">
          <ac:chgData name="Frances Meek" userId="f3af35cc-3229-46e1-af36-3525661cfbd3" providerId="ADAL" clId="{402734F4-ED68-41EE-9F3D-3834E7938ECA}" dt="2023-04-19T12:49:24.951" v="1371" actId="20577"/>
          <ac:spMkLst>
            <pc:docMk/>
            <pc:sldMk cId="1615956032" sldId="2213"/>
            <ac:spMk id="3" creationId="{7538ABD7-5CEC-5596-C211-062EF2819B6D}"/>
          </ac:spMkLst>
        </pc:spChg>
        <pc:spChg chg="add mod">
          <ac:chgData name="Frances Meek" userId="f3af35cc-3229-46e1-af36-3525661cfbd3" providerId="ADAL" clId="{402734F4-ED68-41EE-9F3D-3834E7938ECA}" dt="2023-04-19T12:58:13.251" v="1794" actId="1076"/>
          <ac:spMkLst>
            <pc:docMk/>
            <pc:sldMk cId="1615956032" sldId="2213"/>
            <ac:spMk id="4" creationId="{4C818D4A-882E-0E3A-2D64-EB568E11F4D0}"/>
          </ac:spMkLst>
        </pc:spChg>
        <pc:spChg chg="del">
          <ac:chgData name="Frances Meek" userId="f3af35cc-3229-46e1-af36-3525661cfbd3" providerId="ADAL" clId="{402734F4-ED68-41EE-9F3D-3834E7938ECA}" dt="2023-04-19T12:49:28.767" v="1373" actId="478"/>
          <ac:spMkLst>
            <pc:docMk/>
            <pc:sldMk cId="1615956032" sldId="2213"/>
            <ac:spMk id="7" creationId="{3132D9EB-9625-BD02-2683-3896F0781264}"/>
          </ac:spMkLst>
        </pc:spChg>
        <pc:spChg chg="del">
          <ac:chgData name="Frances Meek" userId="f3af35cc-3229-46e1-af36-3525661cfbd3" providerId="ADAL" clId="{402734F4-ED68-41EE-9F3D-3834E7938ECA}" dt="2023-04-19T12:49:30.537" v="1375" actId="478"/>
          <ac:spMkLst>
            <pc:docMk/>
            <pc:sldMk cId="1615956032" sldId="2213"/>
            <ac:spMk id="8" creationId="{4162095C-A4DE-597F-2AB2-A576487BFAB4}"/>
          </ac:spMkLst>
        </pc:spChg>
        <pc:spChg chg="add mod">
          <ac:chgData name="Frances Meek" userId="f3af35cc-3229-46e1-af36-3525661cfbd3" providerId="ADAL" clId="{402734F4-ED68-41EE-9F3D-3834E7938ECA}" dt="2023-04-19T12:58:09.419" v="1793" actId="1076"/>
          <ac:spMkLst>
            <pc:docMk/>
            <pc:sldMk cId="1615956032" sldId="2213"/>
            <ac:spMk id="14" creationId="{B969AC89-7563-EE58-21C6-B016C026B16A}"/>
          </ac:spMkLst>
        </pc:spChg>
        <pc:spChg chg="add mod">
          <ac:chgData name="Frances Meek" userId="f3af35cc-3229-46e1-af36-3525661cfbd3" providerId="ADAL" clId="{402734F4-ED68-41EE-9F3D-3834E7938ECA}" dt="2023-04-19T12:58:27.100" v="1799" actId="14100"/>
          <ac:spMkLst>
            <pc:docMk/>
            <pc:sldMk cId="1615956032" sldId="2213"/>
            <ac:spMk id="17" creationId="{6C13F20E-62A6-350E-CF33-B0E67B949079}"/>
          </ac:spMkLst>
        </pc:spChg>
        <pc:picChg chg="del">
          <ac:chgData name="Frances Meek" userId="f3af35cc-3229-46e1-af36-3525661cfbd3" providerId="ADAL" clId="{402734F4-ED68-41EE-9F3D-3834E7938ECA}" dt="2023-04-19T12:49:27.156" v="1372" actId="478"/>
          <ac:picMkLst>
            <pc:docMk/>
            <pc:sldMk cId="1615956032" sldId="2213"/>
            <ac:picMk id="5" creationId="{8CEAF87E-016B-DB9C-A39A-62AA37356962}"/>
          </ac:picMkLst>
        </pc:picChg>
        <pc:picChg chg="add mod">
          <ac:chgData name="Frances Meek" userId="f3af35cc-3229-46e1-af36-3525661cfbd3" providerId="ADAL" clId="{402734F4-ED68-41EE-9F3D-3834E7938ECA}" dt="2023-04-19T12:58:14.371" v="1795" actId="1076"/>
          <ac:picMkLst>
            <pc:docMk/>
            <pc:sldMk cId="1615956032" sldId="2213"/>
            <ac:picMk id="9" creationId="{5FA4D661-021F-9C54-59BC-59B57A320642}"/>
          </ac:picMkLst>
        </pc:picChg>
        <pc:picChg chg="add mod">
          <ac:chgData name="Frances Meek" userId="f3af35cc-3229-46e1-af36-3525661cfbd3" providerId="ADAL" clId="{402734F4-ED68-41EE-9F3D-3834E7938ECA}" dt="2023-04-19T12:58:19.027" v="1798" actId="1076"/>
          <ac:picMkLst>
            <pc:docMk/>
            <pc:sldMk cId="1615956032" sldId="2213"/>
            <ac:picMk id="11" creationId="{BD548A47-6C89-147D-10A2-4210634442D1}"/>
          </ac:picMkLst>
        </pc:picChg>
        <pc:picChg chg="add mod">
          <ac:chgData name="Frances Meek" userId="f3af35cc-3229-46e1-af36-3525661cfbd3" providerId="ADAL" clId="{402734F4-ED68-41EE-9F3D-3834E7938ECA}" dt="2023-04-19T12:58:07.194" v="1792" actId="1076"/>
          <ac:picMkLst>
            <pc:docMk/>
            <pc:sldMk cId="1615956032" sldId="2213"/>
            <ac:picMk id="13" creationId="{A4B660D0-C8BD-40C3-5393-6C22ABAEC717}"/>
          </ac:picMkLst>
        </pc:picChg>
        <pc:picChg chg="add mod">
          <ac:chgData name="Frances Meek" userId="f3af35cc-3229-46e1-af36-3525661cfbd3" providerId="ADAL" clId="{402734F4-ED68-41EE-9F3D-3834E7938ECA}" dt="2023-04-19T12:57:41.315" v="1787" actId="1076"/>
          <ac:picMkLst>
            <pc:docMk/>
            <pc:sldMk cId="1615956032" sldId="2213"/>
            <ac:picMk id="15" creationId="{7C05D3AE-386A-EAD5-B5E3-BFBEC1C5C9D0}"/>
          </ac:picMkLst>
        </pc:picChg>
        <pc:picChg chg="del">
          <ac:chgData name="Frances Meek" userId="f3af35cc-3229-46e1-af36-3525661cfbd3" providerId="ADAL" clId="{402734F4-ED68-41EE-9F3D-3834E7938ECA}" dt="2023-04-19T12:49:29.321" v="1374" actId="478"/>
          <ac:picMkLst>
            <pc:docMk/>
            <pc:sldMk cId="1615956032" sldId="2213"/>
            <ac:picMk id="1026" creationId="{2E757EBC-8724-452E-122D-8D15E0B67606}"/>
          </ac:picMkLst>
        </pc:picChg>
      </pc:sldChg>
      <pc:sldChg chg="addSp delSp modSp new mod">
        <pc:chgData name="Frances Meek" userId="f3af35cc-3229-46e1-af36-3525661cfbd3" providerId="ADAL" clId="{402734F4-ED68-41EE-9F3D-3834E7938ECA}" dt="2023-04-19T13:09:54.067" v="1921" actId="20577"/>
        <pc:sldMkLst>
          <pc:docMk/>
          <pc:sldMk cId="2407176978" sldId="2214"/>
        </pc:sldMkLst>
        <pc:spChg chg="mod">
          <ac:chgData name="Frances Meek" userId="f3af35cc-3229-46e1-af36-3525661cfbd3" providerId="ADAL" clId="{402734F4-ED68-41EE-9F3D-3834E7938ECA}" dt="2023-04-19T12:58:51.722" v="1820" actId="20577"/>
          <ac:spMkLst>
            <pc:docMk/>
            <pc:sldMk cId="2407176978" sldId="2214"/>
            <ac:spMk id="2" creationId="{9F52B3C2-8001-716C-3790-AFAC46D529B7}"/>
          </ac:spMkLst>
        </pc:spChg>
        <pc:spChg chg="add mod">
          <ac:chgData name="Frances Meek" userId="f3af35cc-3229-46e1-af36-3525661cfbd3" providerId="ADAL" clId="{402734F4-ED68-41EE-9F3D-3834E7938ECA}" dt="2023-04-19T13:00:11.503" v="1866" actId="20577"/>
          <ac:spMkLst>
            <pc:docMk/>
            <pc:sldMk cId="2407176978" sldId="2214"/>
            <ac:spMk id="3" creationId="{ECF514FB-AEC6-447E-3CDD-BF69E756B7E6}"/>
          </ac:spMkLst>
        </pc:spChg>
        <pc:spChg chg="add mod">
          <ac:chgData name="Frances Meek" userId="f3af35cc-3229-46e1-af36-3525661cfbd3" providerId="ADAL" clId="{402734F4-ED68-41EE-9F3D-3834E7938ECA}" dt="2023-04-19T13:00:18.834" v="1868" actId="1076"/>
          <ac:spMkLst>
            <pc:docMk/>
            <pc:sldMk cId="2407176978" sldId="2214"/>
            <ac:spMk id="5" creationId="{D4079B23-B3C2-1DC4-B6FA-B8ED2169CAC0}"/>
          </ac:spMkLst>
        </pc:spChg>
        <pc:spChg chg="add mod">
          <ac:chgData name="Frances Meek" userId="f3af35cc-3229-46e1-af36-3525661cfbd3" providerId="ADAL" clId="{402734F4-ED68-41EE-9F3D-3834E7938ECA}" dt="2023-04-19T13:09:54.067" v="1921" actId="20577"/>
          <ac:spMkLst>
            <pc:docMk/>
            <pc:sldMk cId="2407176978" sldId="2214"/>
            <ac:spMk id="14" creationId="{59477DF4-6931-E9EF-12F0-41CCA90BB61A}"/>
          </ac:spMkLst>
        </pc:spChg>
        <pc:picChg chg="add mod">
          <ac:chgData name="Frances Meek" userId="f3af35cc-3229-46e1-af36-3525661cfbd3" providerId="ADAL" clId="{402734F4-ED68-41EE-9F3D-3834E7938ECA}" dt="2023-04-19T13:05:54.660" v="1892" actId="1076"/>
          <ac:picMkLst>
            <pc:docMk/>
            <pc:sldMk cId="2407176978" sldId="2214"/>
            <ac:picMk id="6" creationId="{8E341F82-7C87-1C66-6C73-FD6F4A362604}"/>
          </ac:picMkLst>
        </pc:picChg>
        <pc:picChg chg="add mod">
          <ac:chgData name="Frances Meek" userId="f3af35cc-3229-46e1-af36-3525661cfbd3" providerId="ADAL" clId="{402734F4-ED68-41EE-9F3D-3834E7938ECA}" dt="2023-04-19T13:05:55.562" v="1893" actId="1076"/>
          <ac:picMkLst>
            <pc:docMk/>
            <pc:sldMk cId="2407176978" sldId="2214"/>
            <ac:picMk id="8" creationId="{4956A11E-6198-262C-1691-E71AEC2F3B32}"/>
          </ac:picMkLst>
        </pc:picChg>
        <pc:picChg chg="add del mod">
          <ac:chgData name="Frances Meek" userId="f3af35cc-3229-46e1-af36-3525661cfbd3" providerId="ADAL" clId="{402734F4-ED68-41EE-9F3D-3834E7938ECA}" dt="2023-04-19T13:05:44.150" v="1885" actId="478"/>
          <ac:picMkLst>
            <pc:docMk/>
            <pc:sldMk cId="2407176978" sldId="2214"/>
            <ac:picMk id="10" creationId="{099F37E4-4849-FA06-6821-DCE3D5E0A9BF}"/>
          </ac:picMkLst>
        </pc:picChg>
        <pc:picChg chg="add mod">
          <ac:chgData name="Frances Meek" userId="f3af35cc-3229-46e1-af36-3525661cfbd3" providerId="ADAL" clId="{402734F4-ED68-41EE-9F3D-3834E7938ECA}" dt="2023-04-19T13:05:56.731" v="1894" actId="1076"/>
          <ac:picMkLst>
            <pc:docMk/>
            <pc:sldMk cId="2407176978" sldId="2214"/>
            <ac:picMk id="12" creationId="{B29F5132-A414-6FD8-D85D-64AE32F052B8}"/>
          </ac:picMkLst>
        </pc:picChg>
        <pc:picChg chg="add mod">
          <ac:chgData name="Frances Meek" userId="f3af35cc-3229-46e1-af36-3525661cfbd3" providerId="ADAL" clId="{402734F4-ED68-41EE-9F3D-3834E7938ECA}" dt="2023-04-19T13:09:46.332" v="1917" actId="1076"/>
          <ac:picMkLst>
            <pc:docMk/>
            <pc:sldMk cId="2407176978" sldId="2214"/>
            <ac:picMk id="16" creationId="{05E23D52-1F2D-77B7-FFCB-63240149C595}"/>
          </ac:picMkLst>
        </pc:picChg>
      </pc:sldChg>
      <pc:sldMasterChg chg="modSldLayout">
        <pc:chgData name="Frances Meek" userId="f3af35cc-3229-46e1-af36-3525661cfbd3" providerId="ADAL" clId="{402734F4-ED68-41EE-9F3D-3834E7938ECA}" dt="2023-04-19T12:05:20.151" v="569" actId="20577"/>
        <pc:sldMasterMkLst>
          <pc:docMk/>
          <pc:sldMasterMk cId="1040954479" sldId="2147483648"/>
        </pc:sldMasterMkLst>
        <pc:sldLayoutChg chg="modSp mod">
          <pc:chgData name="Frances Meek" userId="f3af35cc-3229-46e1-af36-3525661cfbd3" providerId="ADAL" clId="{402734F4-ED68-41EE-9F3D-3834E7938ECA}" dt="2023-04-19T12:03:32.746" v="523" actId="20577"/>
          <pc:sldLayoutMkLst>
            <pc:docMk/>
            <pc:sldMasterMk cId="1040954479" sldId="2147483648"/>
            <pc:sldLayoutMk cId="689798220" sldId="2147483649"/>
          </pc:sldLayoutMkLst>
          <pc:spChg chg="mod">
            <ac:chgData name="Frances Meek" userId="f3af35cc-3229-46e1-af36-3525661cfbd3" providerId="ADAL" clId="{402734F4-ED68-41EE-9F3D-3834E7938ECA}" dt="2023-04-19T12:03:32.746" v="523" actId="20577"/>
            <ac:spMkLst>
              <pc:docMk/>
              <pc:sldMasterMk cId="1040954479" sldId="2147483648"/>
              <pc:sldLayoutMk cId="689798220" sldId="2147483649"/>
              <ac:spMk id="4" creationId="{29E35266-84C1-5644-A21D-EEB4AE06D375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3:47.113" v="526" actId="20577"/>
          <pc:sldLayoutMkLst>
            <pc:docMk/>
            <pc:sldMasterMk cId="1040954479" sldId="2147483648"/>
            <pc:sldLayoutMk cId="3011519591" sldId="2147483660"/>
          </pc:sldLayoutMkLst>
          <pc:spChg chg="mod">
            <ac:chgData name="Frances Meek" userId="f3af35cc-3229-46e1-af36-3525661cfbd3" providerId="ADAL" clId="{402734F4-ED68-41EE-9F3D-3834E7938ECA}" dt="2023-04-19T12:03:47.113" v="526" actId="20577"/>
            <ac:spMkLst>
              <pc:docMk/>
              <pc:sldMasterMk cId="1040954479" sldId="2147483648"/>
              <pc:sldLayoutMk cId="3011519591" sldId="2147483660"/>
              <ac:spMk id="6" creationId="{69301A21-E7B2-3447-BA9B-2E25416FEAE5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3:38.140" v="525" actId="20577"/>
          <pc:sldLayoutMkLst>
            <pc:docMk/>
            <pc:sldMasterMk cId="1040954479" sldId="2147483648"/>
            <pc:sldLayoutMk cId="582071210" sldId="2147483661"/>
          </pc:sldLayoutMkLst>
          <pc:spChg chg="mod">
            <ac:chgData name="Frances Meek" userId="f3af35cc-3229-46e1-af36-3525661cfbd3" providerId="ADAL" clId="{402734F4-ED68-41EE-9F3D-3834E7938ECA}" dt="2023-04-19T12:03:38.140" v="525" actId="20577"/>
            <ac:spMkLst>
              <pc:docMk/>
              <pc:sldMasterMk cId="1040954479" sldId="2147483648"/>
              <pc:sldLayoutMk cId="582071210" sldId="2147483661"/>
              <ac:spMk id="7" creationId="{7CA3A49B-7239-384B-A3B0-8600CA8D6427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3:52.727" v="528" actId="20577"/>
          <pc:sldLayoutMkLst>
            <pc:docMk/>
            <pc:sldMasterMk cId="1040954479" sldId="2147483648"/>
            <pc:sldLayoutMk cId="1784744196" sldId="2147483662"/>
          </pc:sldLayoutMkLst>
          <pc:spChg chg="mod">
            <ac:chgData name="Frances Meek" userId="f3af35cc-3229-46e1-af36-3525661cfbd3" providerId="ADAL" clId="{402734F4-ED68-41EE-9F3D-3834E7938ECA}" dt="2023-04-19T12:03:52.727" v="528" actId="20577"/>
            <ac:spMkLst>
              <pc:docMk/>
              <pc:sldMasterMk cId="1040954479" sldId="2147483648"/>
              <pc:sldLayoutMk cId="1784744196" sldId="2147483662"/>
              <ac:spMk id="9" creationId="{2C5750F5-B00C-4841-AA7D-EE297926A599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3:57.232" v="530" actId="20577"/>
          <pc:sldLayoutMkLst>
            <pc:docMk/>
            <pc:sldMasterMk cId="1040954479" sldId="2147483648"/>
            <pc:sldLayoutMk cId="759517858" sldId="2147483663"/>
          </pc:sldLayoutMkLst>
          <pc:spChg chg="mod">
            <ac:chgData name="Frances Meek" userId="f3af35cc-3229-46e1-af36-3525661cfbd3" providerId="ADAL" clId="{402734F4-ED68-41EE-9F3D-3834E7938ECA}" dt="2023-04-19T12:03:57.232" v="530" actId="20577"/>
            <ac:spMkLst>
              <pc:docMk/>
              <pc:sldMasterMk cId="1040954479" sldId="2147483648"/>
              <pc:sldLayoutMk cId="759517858" sldId="2147483663"/>
              <ac:spMk id="9" creationId="{4E944D1F-16E2-1C42-BC01-40BDA1B0C498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32.781" v="546" actId="20577"/>
          <pc:sldLayoutMkLst>
            <pc:docMk/>
            <pc:sldMasterMk cId="1040954479" sldId="2147483648"/>
            <pc:sldLayoutMk cId="1881364267" sldId="2147483664"/>
          </pc:sldLayoutMkLst>
          <pc:spChg chg="mod">
            <ac:chgData name="Frances Meek" userId="f3af35cc-3229-46e1-af36-3525661cfbd3" providerId="ADAL" clId="{402734F4-ED68-41EE-9F3D-3834E7938ECA}" dt="2023-04-19T12:04:32.781" v="546" actId="20577"/>
            <ac:spMkLst>
              <pc:docMk/>
              <pc:sldMasterMk cId="1040954479" sldId="2147483648"/>
              <pc:sldLayoutMk cId="1881364267" sldId="2147483664"/>
              <ac:spMk id="10" creationId="{4CB09A7F-5ABE-5C48-ACCB-9C236D2232FE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5:06.041" v="562" actId="20577"/>
          <pc:sldLayoutMkLst>
            <pc:docMk/>
            <pc:sldMasterMk cId="1040954479" sldId="2147483648"/>
            <pc:sldLayoutMk cId="321628614" sldId="2147483665"/>
          </pc:sldLayoutMkLst>
          <pc:spChg chg="mod">
            <ac:chgData name="Frances Meek" userId="f3af35cc-3229-46e1-af36-3525661cfbd3" providerId="ADAL" clId="{402734F4-ED68-41EE-9F3D-3834E7938ECA}" dt="2023-04-19T12:05:06.041" v="562" actId="20577"/>
            <ac:spMkLst>
              <pc:docMk/>
              <pc:sldMasterMk cId="1040954479" sldId="2147483648"/>
              <pc:sldLayoutMk cId="321628614" sldId="2147483665"/>
              <ac:spMk id="12" creationId="{DCFA5C25-ADFE-0D4F-9B70-A516087F663B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45.201" v="553" actId="20577"/>
          <pc:sldLayoutMkLst>
            <pc:docMk/>
            <pc:sldMasterMk cId="1040954479" sldId="2147483648"/>
            <pc:sldLayoutMk cId="2396316279" sldId="2147483666"/>
          </pc:sldLayoutMkLst>
          <pc:spChg chg="mod">
            <ac:chgData name="Frances Meek" userId="f3af35cc-3229-46e1-af36-3525661cfbd3" providerId="ADAL" clId="{402734F4-ED68-41EE-9F3D-3834E7938ECA}" dt="2023-04-19T12:04:45.201" v="553" actId="20577"/>
            <ac:spMkLst>
              <pc:docMk/>
              <pc:sldMasterMk cId="1040954479" sldId="2147483648"/>
              <pc:sldLayoutMk cId="2396316279" sldId="2147483666"/>
              <ac:spMk id="12" creationId="{3427A242-6236-0341-B7C7-7CE47CB8EF63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2:19.587" v="507" actId="20577"/>
          <pc:sldLayoutMkLst>
            <pc:docMk/>
            <pc:sldMasterMk cId="1040954479" sldId="2147483648"/>
            <pc:sldLayoutMk cId="2012299720" sldId="2147483667"/>
          </pc:sldLayoutMkLst>
          <pc:spChg chg="mod">
            <ac:chgData name="Frances Meek" userId="f3af35cc-3229-46e1-af36-3525661cfbd3" providerId="ADAL" clId="{402734F4-ED68-41EE-9F3D-3834E7938ECA}" dt="2023-04-19T12:02:19.587" v="507" actId="20577"/>
            <ac:spMkLst>
              <pc:docMk/>
              <pc:sldMasterMk cId="1040954479" sldId="2147483648"/>
              <pc:sldLayoutMk cId="2012299720" sldId="2147483667"/>
              <ac:spMk id="16" creationId="{15BDEDA3-9C0B-2D41-BD95-C8EAC73CB0CE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2:28.586" v="509" actId="20577"/>
          <pc:sldLayoutMkLst>
            <pc:docMk/>
            <pc:sldMasterMk cId="1040954479" sldId="2147483648"/>
            <pc:sldLayoutMk cId="3160390401" sldId="2147483668"/>
          </pc:sldLayoutMkLst>
          <pc:spChg chg="mod">
            <ac:chgData name="Frances Meek" userId="f3af35cc-3229-46e1-af36-3525661cfbd3" providerId="ADAL" clId="{402734F4-ED68-41EE-9F3D-3834E7938ECA}" dt="2023-04-19T12:02:28.586" v="509" actId="20577"/>
            <ac:spMkLst>
              <pc:docMk/>
              <pc:sldMasterMk cId="1040954479" sldId="2147483648"/>
              <pc:sldLayoutMk cId="3160390401" sldId="2147483668"/>
              <ac:spMk id="4" creationId="{C1E94BFF-B5AB-E943-9CFC-F78F07288D42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2:34.082" v="511" actId="20577"/>
          <pc:sldLayoutMkLst>
            <pc:docMk/>
            <pc:sldMasterMk cId="1040954479" sldId="2147483648"/>
            <pc:sldLayoutMk cId="1583659604" sldId="2147483669"/>
          </pc:sldLayoutMkLst>
          <pc:spChg chg="mod">
            <ac:chgData name="Frances Meek" userId="f3af35cc-3229-46e1-af36-3525661cfbd3" providerId="ADAL" clId="{402734F4-ED68-41EE-9F3D-3834E7938ECA}" dt="2023-04-19T12:02:34.082" v="511" actId="20577"/>
            <ac:spMkLst>
              <pc:docMk/>
              <pc:sldMasterMk cId="1040954479" sldId="2147483648"/>
              <pc:sldLayoutMk cId="1583659604" sldId="2147483669"/>
              <ac:spMk id="4" creationId="{32FE22AF-0330-2E42-9C9B-80BD71BF264F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49.571" v="555" actId="20577"/>
          <pc:sldLayoutMkLst>
            <pc:docMk/>
            <pc:sldMasterMk cId="1040954479" sldId="2147483648"/>
            <pc:sldLayoutMk cId="3432625554" sldId="2147483670"/>
          </pc:sldLayoutMkLst>
          <pc:spChg chg="mod">
            <ac:chgData name="Frances Meek" userId="f3af35cc-3229-46e1-af36-3525661cfbd3" providerId="ADAL" clId="{402734F4-ED68-41EE-9F3D-3834E7938ECA}" dt="2023-04-19T12:04:49.571" v="555" actId="20577"/>
            <ac:spMkLst>
              <pc:docMk/>
              <pc:sldMasterMk cId="1040954479" sldId="2147483648"/>
              <pc:sldLayoutMk cId="3432625554" sldId="2147483670"/>
              <ac:spMk id="12" creationId="{A7723995-8BFF-E840-BA7D-570C8FF42DE8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03.213" v="535" actId="20577"/>
          <pc:sldLayoutMkLst>
            <pc:docMk/>
            <pc:sldMasterMk cId="1040954479" sldId="2147483648"/>
            <pc:sldLayoutMk cId="376271768" sldId="2147483674"/>
          </pc:sldLayoutMkLst>
          <pc:spChg chg="mod">
            <ac:chgData name="Frances Meek" userId="f3af35cc-3229-46e1-af36-3525661cfbd3" providerId="ADAL" clId="{402734F4-ED68-41EE-9F3D-3834E7938ECA}" dt="2023-04-19T12:04:03.213" v="535" actId="20577"/>
            <ac:spMkLst>
              <pc:docMk/>
              <pc:sldMasterMk cId="1040954479" sldId="2147483648"/>
              <pc:sldLayoutMk cId="376271768" sldId="2147483674"/>
              <ac:spMk id="5" creationId="{C500FF99-9F59-0540-BF93-0DA39ED3074D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14.609" v="538" actId="20577"/>
          <pc:sldLayoutMkLst>
            <pc:docMk/>
            <pc:sldMasterMk cId="1040954479" sldId="2147483648"/>
            <pc:sldLayoutMk cId="445033363" sldId="2147483675"/>
          </pc:sldLayoutMkLst>
          <pc:spChg chg="mod">
            <ac:chgData name="Frances Meek" userId="f3af35cc-3229-46e1-af36-3525661cfbd3" providerId="ADAL" clId="{402734F4-ED68-41EE-9F3D-3834E7938ECA}" dt="2023-04-19T12:04:14.609" v="538" actId="20577"/>
            <ac:spMkLst>
              <pc:docMk/>
              <pc:sldMasterMk cId="1040954479" sldId="2147483648"/>
              <pc:sldLayoutMk cId="445033363" sldId="2147483675"/>
              <ac:spMk id="8" creationId="{FD2E68D0-1A0A-0841-8342-AD55AE73F016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09.817" v="537" actId="20577"/>
          <pc:sldLayoutMkLst>
            <pc:docMk/>
            <pc:sldMasterMk cId="1040954479" sldId="2147483648"/>
            <pc:sldLayoutMk cId="2314529098" sldId="2147483677"/>
          </pc:sldLayoutMkLst>
          <pc:spChg chg="mod">
            <ac:chgData name="Frances Meek" userId="f3af35cc-3229-46e1-af36-3525661cfbd3" providerId="ADAL" clId="{402734F4-ED68-41EE-9F3D-3834E7938ECA}" dt="2023-04-19T12:04:09.817" v="537" actId="20577"/>
            <ac:spMkLst>
              <pc:docMk/>
              <pc:sldMasterMk cId="1040954479" sldId="2147483648"/>
              <pc:sldLayoutMk cId="2314529098" sldId="2147483677"/>
              <ac:spMk id="8" creationId="{42E67CE2-3041-1547-9F0B-C855A7A3F576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21.056" v="539" actId="20577"/>
          <pc:sldLayoutMkLst>
            <pc:docMk/>
            <pc:sldMasterMk cId="1040954479" sldId="2147483648"/>
            <pc:sldLayoutMk cId="2672579556" sldId="2147483678"/>
          </pc:sldLayoutMkLst>
          <pc:spChg chg="mod">
            <ac:chgData name="Frances Meek" userId="f3af35cc-3229-46e1-af36-3525661cfbd3" providerId="ADAL" clId="{402734F4-ED68-41EE-9F3D-3834E7938ECA}" dt="2023-04-19T12:04:21.056" v="539" actId="20577"/>
            <ac:spMkLst>
              <pc:docMk/>
              <pc:sldMasterMk cId="1040954479" sldId="2147483648"/>
              <pc:sldLayoutMk cId="2672579556" sldId="2147483678"/>
              <ac:spMk id="8" creationId="{DDCF2284-C5F6-F247-990C-4AF26C41B122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26.545" v="541" actId="20577"/>
          <pc:sldLayoutMkLst>
            <pc:docMk/>
            <pc:sldMasterMk cId="1040954479" sldId="2147483648"/>
            <pc:sldLayoutMk cId="2522403547" sldId="2147483679"/>
          </pc:sldLayoutMkLst>
          <pc:spChg chg="mod">
            <ac:chgData name="Frances Meek" userId="f3af35cc-3229-46e1-af36-3525661cfbd3" providerId="ADAL" clId="{402734F4-ED68-41EE-9F3D-3834E7938ECA}" dt="2023-04-19T12:04:26.545" v="541" actId="20577"/>
            <ac:spMkLst>
              <pc:docMk/>
              <pc:sldMasterMk cId="1040954479" sldId="2147483648"/>
              <pc:sldLayoutMk cId="2522403547" sldId="2147483679"/>
              <ac:spMk id="8" creationId="{FBC3358C-CFBA-594F-9642-86C913598C4F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5:15.624" v="567" actId="20577"/>
          <pc:sldLayoutMkLst>
            <pc:docMk/>
            <pc:sldMasterMk cId="1040954479" sldId="2147483648"/>
            <pc:sldLayoutMk cId="437735502" sldId="2147483680"/>
          </pc:sldLayoutMkLst>
          <pc:spChg chg="mod">
            <ac:chgData name="Frances Meek" userId="f3af35cc-3229-46e1-af36-3525661cfbd3" providerId="ADAL" clId="{402734F4-ED68-41EE-9F3D-3834E7938ECA}" dt="2023-04-19T12:05:15.624" v="567" actId="20577"/>
            <ac:spMkLst>
              <pc:docMk/>
              <pc:sldMasterMk cId="1040954479" sldId="2147483648"/>
              <pc:sldLayoutMk cId="437735502" sldId="2147483680"/>
              <ac:spMk id="10" creationId="{0D715D3D-5C55-EF45-8531-8B14A9750D09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53.510" v="557" actId="20577"/>
          <pc:sldLayoutMkLst>
            <pc:docMk/>
            <pc:sldMasterMk cId="1040954479" sldId="2147483648"/>
            <pc:sldLayoutMk cId="3472677732" sldId="2147483681"/>
          </pc:sldLayoutMkLst>
          <pc:spChg chg="mod">
            <ac:chgData name="Frances Meek" userId="f3af35cc-3229-46e1-af36-3525661cfbd3" providerId="ADAL" clId="{402734F4-ED68-41EE-9F3D-3834E7938ECA}" dt="2023-04-19T12:04:53.510" v="557" actId="20577"/>
            <ac:spMkLst>
              <pc:docMk/>
              <pc:sldMasterMk cId="1040954479" sldId="2147483648"/>
              <pc:sldLayoutMk cId="3472677732" sldId="2147483681"/>
              <ac:spMk id="12" creationId="{100F710F-5606-7646-A322-512C2DF26FF5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5:00.201" v="560" actId="20577"/>
          <pc:sldLayoutMkLst>
            <pc:docMk/>
            <pc:sldMasterMk cId="1040954479" sldId="2147483648"/>
            <pc:sldLayoutMk cId="900704113" sldId="2147483682"/>
          </pc:sldLayoutMkLst>
          <pc:spChg chg="mod">
            <ac:chgData name="Frances Meek" userId="f3af35cc-3229-46e1-af36-3525661cfbd3" providerId="ADAL" clId="{402734F4-ED68-41EE-9F3D-3834E7938ECA}" dt="2023-04-19T12:05:00.201" v="560" actId="20577"/>
            <ac:spMkLst>
              <pc:docMk/>
              <pc:sldMasterMk cId="1040954479" sldId="2147483648"/>
              <pc:sldLayoutMk cId="900704113" sldId="2147483682"/>
              <ac:spMk id="10" creationId="{A9A68431-98DC-F74F-AD3C-93A76AF496B4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5:10.276" v="564" actId="20577"/>
          <pc:sldLayoutMkLst>
            <pc:docMk/>
            <pc:sldMasterMk cId="1040954479" sldId="2147483648"/>
            <pc:sldLayoutMk cId="3723502938" sldId="2147483683"/>
          </pc:sldLayoutMkLst>
          <pc:spChg chg="mod">
            <ac:chgData name="Frances Meek" userId="f3af35cc-3229-46e1-af36-3525661cfbd3" providerId="ADAL" clId="{402734F4-ED68-41EE-9F3D-3834E7938ECA}" dt="2023-04-19T12:05:10.276" v="564" actId="20577"/>
            <ac:spMkLst>
              <pc:docMk/>
              <pc:sldMasterMk cId="1040954479" sldId="2147483648"/>
              <pc:sldLayoutMk cId="3723502938" sldId="2147483683"/>
              <ac:spMk id="12" creationId="{857BAF6F-BDE8-424A-BFCD-5AE8C7FCB1BB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5:20.151" v="569" actId="20577"/>
          <pc:sldLayoutMkLst>
            <pc:docMk/>
            <pc:sldMasterMk cId="1040954479" sldId="2147483648"/>
            <pc:sldLayoutMk cId="2744108715" sldId="2147483684"/>
          </pc:sldLayoutMkLst>
          <pc:spChg chg="mod">
            <ac:chgData name="Frances Meek" userId="f3af35cc-3229-46e1-af36-3525661cfbd3" providerId="ADAL" clId="{402734F4-ED68-41EE-9F3D-3834E7938ECA}" dt="2023-04-19T12:05:20.151" v="569" actId="20577"/>
            <ac:spMkLst>
              <pc:docMk/>
              <pc:sldMasterMk cId="1040954479" sldId="2147483648"/>
              <pc:sldLayoutMk cId="2744108715" sldId="2147483684"/>
              <ac:spMk id="12" creationId="{98F02296-880B-F147-8804-3CB6DE81CA6A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4:39.851" v="551" actId="20577"/>
          <pc:sldLayoutMkLst>
            <pc:docMk/>
            <pc:sldMasterMk cId="1040954479" sldId="2147483648"/>
            <pc:sldLayoutMk cId="1524535586" sldId="2147483687"/>
          </pc:sldLayoutMkLst>
          <pc:spChg chg="mod">
            <ac:chgData name="Frances Meek" userId="f3af35cc-3229-46e1-af36-3525661cfbd3" providerId="ADAL" clId="{402734F4-ED68-41EE-9F3D-3834E7938ECA}" dt="2023-04-19T12:04:39.851" v="551" actId="20577"/>
            <ac:spMkLst>
              <pc:docMk/>
              <pc:sldMasterMk cId="1040954479" sldId="2147483648"/>
              <pc:sldLayoutMk cId="1524535586" sldId="2147483687"/>
              <ac:spMk id="10" creationId="{4CB09A7F-5ABE-5C48-ACCB-9C236D2232FE}"/>
            </ac:spMkLst>
          </pc:spChg>
        </pc:sldLayoutChg>
        <pc:sldLayoutChg chg="modSp mod">
          <pc:chgData name="Frances Meek" userId="f3af35cc-3229-46e1-af36-3525661cfbd3" providerId="ADAL" clId="{402734F4-ED68-41EE-9F3D-3834E7938ECA}" dt="2023-04-19T12:02:45.526" v="516" actId="20577"/>
          <pc:sldLayoutMkLst>
            <pc:docMk/>
            <pc:sldMasterMk cId="1040954479" sldId="2147483648"/>
            <pc:sldLayoutMk cId="3103926557" sldId="2147483688"/>
          </pc:sldLayoutMkLst>
          <pc:spChg chg="mod">
            <ac:chgData name="Frances Meek" userId="f3af35cc-3229-46e1-af36-3525661cfbd3" providerId="ADAL" clId="{402734F4-ED68-41EE-9F3D-3834E7938ECA}" dt="2023-04-19T12:02:45.526" v="516" actId="20577"/>
            <ac:spMkLst>
              <pc:docMk/>
              <pc:sldMasterMk cId="1040954479" sldId="2147483648"/>
              <pc:sldLayoutMk cId="3103926557" sldId="2147483688"/>
              <ac:spMk id="3" creationId="{991F1E5D-5E12-09D1-44B6-7A1A05B6DDAB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AD26FBC-82A4-41C1-D0DF-6FD1AEFB66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78971E-C6AA-2DDA-7FB8-6DC8D76D9BF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19E067-9AF8-4F5B-88F1-82F57F23229A}" type="datetimeFigureOut">
              <a:rPr lang="en-GB" smtClean="0"/>
              <a:t>16/05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E322EB-9A5B-1B39-E844-2BA6B0609E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FD103A-F7AC-96E3-672E-EB3CBF3AA7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3AD124-6BE4-45D9-88FA-44AD9BE97B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0652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54682F-F51F-AB45-987C-E929843F021D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66FF4A-AB65-7D45-A481-EBCF32640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8839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434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Tap water (infused with cucumber and mint)</a:t>
            </a:r>
          </a:p>
          <a:p>
            <a:r>
              <a:rPr lang="en-GB" dirty="0"/>
              <a:t>Image 2: Tea</a:t>
            </a:r>
          </a:p>
          <a:p>
            <a:r>
              <a:rPr lang="en-GB" dirty="0"/>
              <a:t>Image 3: Unsweetened and calcium-fortified soya drink</a:t>
            </a:r>
          </a:p>
          <a:p>
            <a:r>
              <a:rPr lang="en-GB" dirty="0"/>
              <a:t>Image 4: Lower fat milk</a:t>
            </a:r>
          </a:p>
          <a:p>
            <a:r>
              <a:rPr lang="en-GB" dirty="0"/>
              <a:t>Image 5: Orange juice (150ml) </a:t>
            </a:r>
          </a:p>
          <a:p>
            <a:r>
              <a:rPr lang="en-GB" dirty="0"/>
              <a:t>Image 6: Mint tea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9911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Choose frozen</a:t>
            </a:r>
          </a:p>
          <a:p>
            <a:r>
              <a:rPr lang="en-GB" dirty="0"/>
              <a:t>Image 2: </a:t>
            </a:r>
            <a:r>
              <a:rPr lang="en-GB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</a:rPr>
              <a:t>Store food in </a:t>
            </a:r>
            <a:r>
              <a:rPr lang="en-GB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ir-tight containers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3: </a:t>
            </a:r>
            <a:r>
              <a:rPr lang="en-GB" b="0" i="0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eeze leftovers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4: </a:t>
            </a:r>
            <a:r>
              <a:rPr lang="en-GB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t your fridge temperature to </a:t>
            </a:r>
            <a:r>
              <a:rPr lang="en-GB" sz="1200" b="0" i="0" u="none" strike="noStrike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0-5℃</a:t>
            </a:r>
            <a:r>
              <a:rPr lang="en-GB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5: </a:t>
            </a:r>
            <a:r>
              <a:rPr lang="en-GB" b="0" i="0" dirty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lan your meals - create a shopping list</a:t>
            </a:r>
            <a:endParaRPr lang="en-GB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Image 6: Know your “best before” and “use by” dat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1445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3567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24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strike="sngStrike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705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2774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4176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Quinoa</a:t>
            </a:r>
          </a:p>
          <a:p>
            <a:r>
              <a:rPr lang="en-GB" dirty="0"/>
              <a:t>Image 2: Wholewheat biscuits</a:t>
            </a:r>
          </a:p>
          <a:p>
            <a:r>
              <a:rPr lang="en-GB" dirty="0"/>
              <a:t>Image 3: Oats</a:t>
            </a:r>
          </a:p>
          <a:p>
            <a:r>
              <a:rPr lang="en-GB" dirty="0"/>
              <a:t>Image 4: Brown rice</a:t>
            </a:r>
          </a:p>
          <a:p>
            <a:r>
              <a:rPr lang="en-GB" dirty="0"/>
              <a:t>Image 5: Wholemeal pitta or chapati</a:t>
            </a:r>
          </a:p>
          <a:p>
            <a:r>
              <a:rPr lang="en-GB" dirty="0"/>
              <a:t>Image 6: Wholewheat pas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01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0973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5742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Answers</a:t>
            </a:r>
          </a:p>
          <a:p>
            <a:r>
              <a:rPr lang="en-GB" dirty="0"/>
              <a:t>Image 1: Canned red kidney beans in water with no added salt</a:t>
            </a:r>
          </a:p>
          <a:p>
            <a:r>
              <a:rPr lang="en-GB" dirty="0"/>
              <a:t>Image 2: 100% peanut butter</a:t>
            </a:r>
          </a:p>
          <a:p>
            <a:r>
              <a:rPr lang="en-GB" dirty="0"/>
              <a:t>Image 3: Red lentils</a:t>
            </a:r>
          </a:p>
          <a:p>
            <a:r>
              <a:rPr lang="en-GB" dirty="0"/>
              <a:t>Image 4: Unsalted mixed nuts</a:t>
            </a:r>
          </a:p>
          <a:p>
            <a:r>
              <a:rPr lang="en-GB" dirty="0"/>
              <a:t>Image 5: Vegetarian mi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mage 6: Canned chickpeas in water with no added salt</a:t>
            </a:r>
          </a:p>
          <a:p>
            <a:endParaRPr lang="en-GB" dirty="0"/>
          </a:p>
          <a:p>
            <a:r>
              <a:rPr lang="en-GB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66FF4A-AB65-7D45-A481-EBCF3264030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25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91C7F613-5B79-674E-8CAB-8F5D864B8D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043" y="3252721"/>
            <a:ext cx="12213536" cy="360527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9E35266-84C1-5644-A21D-EEB4AE06D375}"/>
              </a:ext>
            </a:extLst>
          </p:cNvPr>
          <p:cNvSpPr txBox="1"/>
          <p:nvPr userDrawn="1"/>
        </p:nvSpPr>
        <p:spPr>
          <a:xfrm>
            <a:off x="9540240" y="6571139"/>
            <a:ext cx="258064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7" name="Picture 6" descr="Logo&#10;&#10;Description automatically generated with medium confidence">
            <a:extLst>
              <a:ext uri="{FF2B5EF4-FFF2-40B4-BE49-F238E27FC236}">
                <a16:creationId xmlns:a16="http://schemas.microsoft.com/office/drawing/2014/main" id="{3CBB80CD-7D10-D649-B898-1A94566AE7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950960" y="280400"/>
            <a:ext cx="2783840" cy="86995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7884971-042A-8842-A5FE-6AC434B5DC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146" y="858911"/>
            <a:ext cx="8235927" cy="1739433"/>
          </a:xfrm>
        </p:spPr>
        <p:txBody>
          <a:bodyPr anchor="b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slide 1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AD69F52-471A-AF48-82FB-76FC62444E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148" y="2871635"/>
            <a:ext cx="8235926" cy="557365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-title, if needed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798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pos="32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04B40599-B26E-234A-B113-BE7AECCA87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Pink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C3358C-CFBA-594F-9642-86C913598C4F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sz="1000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603A102-005B-A642-8126-E5C93FF430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403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9CB8AE5-F581-1548-82EF-6DEBC3023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1" y="703384"/>
            <a:ext cx="10589793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C598F20-CF77-594C-B8EF-91FDE3724D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1" y="1833280"/>
            <a:ext cx="10589794" cy="3892146"/>
          </a:xfrm>
        </p:spPr>
        <p:txBody>
          <a:bodyPr>
            <a:normAutofit/>
          </a:bodyPr>
          <a:lstStyle>
            <a:lvl1pPr marL="0" marR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B09A7F-5ABE-5C48-ACCB-9C236D2232FE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| nutrition.org.uk</a:t>
            </a:r>
          </a:p>
          <a:p>
            <a:pPr algn="l"/>
            <a:endParaRPr lang="en-US" dirty="0"/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CECD74EF-DA4A-9446-6978-EE4F7EB0C1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8136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9CB8AE5-F581-1548-82EF-6DEBC30236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1" y="703384"/>
            <a:ext cx="10589793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C598F20-CF77-594C-B8EF-91FDE3724D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1" y="2262470"/>
            <a:ext cx="10589794" cy="3892146"/>
          </a:xfrm>
        </p:spPr>
        <p:txBody>
          <a:bodyPr>
            <a:normAutofit/>
          </a:bodyPr>
          <a:lstStyle>
            <a:lvl1pPr marL="0" marR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  <a:r>
              <a:rPr lang="en-US" err="1"/>
              <a:t>Excepteur</a:t>
            </a:r>
            <a:r>
              <a:rPr lang="en-US"/>
              <a:t> </a:t>
            </a:r>
            <a:r>
              <a:rPr lang="en-US" err="1"/>
              <a:t>sint</a:t>
            </a:r>
            <a:r>
              <a:rPr lang="en-US"/>
              <a:t> </a:t>
            </a:r>
            <a:r>
              <a:rPr lang="en-US" err="1"/>
              <a:t>occaecat</a:t>
            </a:r>
            <a:r>
              <a:rPr lang="en-US"/>
              <a:t> </a:t>
            </a:r>
            <a:r>
              <a:rPr lang="en-US" err="1"/>
              <a:t>cupidatat</a:t>
            </a:r>
            <a:r>
              <a:rPr lang="en-US"/>
              <a:t> non </a:t>
            </a:r>
            <a:r>
              <a:rPr lang="en-US" err="1"/>
              <a:t>proident</a:t>
            </a:r>
            <a:r>
              <a:rPr lang="en-US"/>
              <a:t>, sunt in culpa qui </a:t>
            </a:r>
            <a:r>
              <a:rPr lang="en-US" err="1"/>
              <a:t>officia</a:t>
            </a:r>
            <a:r>
              <a:rPr lang="en-US"/>
              <a:t> </a:t>
            </a:r>
            <a:r>
              <a:rPr lang="en-US" err="1"/>
              <a:t>deserunt</a:t>
            </a:r>
            <a:r>
              <a:rPr lang="en-US"/>
              <a:t> </a:t>
            </a:r>
            <a:r>
              <a:rPr lang="en-US" err="1"/>
              <a:t>mollit</a:t>
            </a:r>
            <a:r>
              <a:rPr lang="en-US"/>
              <a:t> </a:t>
            </a:r>
            <a:r>
              <a:rPr lang="en-US" err="1"/>
              <a:t>anim</a:t>
            </a:r>
            <a:r>
              <a:rPr lang="en-US"/>
              <a:t> id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laborum</a:t>
            </a:r>
            <a:r>
              <a:rPr lang="en-US"/>
              <a:t>.</a:t>
            </a:r>
          </a:p>
          <a:p>
            <a:pPr marL="0" marR="0" lvl="0" indent="-11113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97E3206-C3B6-1A44-AA3D-E2BC0EA729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8891" y="1640932"/>
            <a:ext cx="10589793" cy="375651"/>
          </a:xfrm>
        </p:spPr>
        <p:txBody>
          <a:bodyPr/>
          <a:lstStyle>
            <a:lvl1pPr marL="11113" indent="-11113">
              <a:buNone/>
              <a:tabLst/>
              <a:defRPr sz="2000" b="1"/>
            </a:lvl1pPr>
          </a:lstStyle>
          <a:p>
            <a:pPr lvl="0"/>
            <a:r>
              <a:rPr lang="en-GB"/>
              <a:t>Subhead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B09A7F-5ABE-5C48-ACCB-9C236D2232FE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| nutrition.org.uk</a:t>
            </a:r>
          </a:p>
          <a:p>
            <a:pPr algn="l"/>
            <a:endParaRPr lang="en-US" dirty="0"/>
          </a:p>
        </p:txBody>
      </p:sp>
      <p:pic>
        <p:nvPicPr>
          <p:cNvPr id="13" name="Picture 12" descr="Application&#10;&#10;Description automatically generated">
            <a:extLst>
              <a:ext uri="{FF2B5EF4-FFF2-40B4-BE49-F238E27FC236}">
                <a16:creationId xmlns:a16="http://schemas.microsoft.com/office/drawing/2014/main" id="{F75C5016-4278-8664-B7EC-A4065B8501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245355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DFA835BA-20C5-DA4B-8518-72E783AD0B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01070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8892" y="1834018"/>
            <a:ext cx="4771444" cy="4285427"/>
          </a:xfrm>
        </p:spPr>
        <p:txBody>
          <a:bodyPr/>
          <a:lstStyle>
            <a:lvl1pPr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27A242-6236-0341-B7C7-7CE47CB8EF63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10" name="Picture 9" descr="Application&#10;&#10;Description automatically generated">
            <a:extLst>
              <a:ext uri="{FF2B5EF4-FFF2-40B4-BE49-F238E27FC236}">
                <a16:creationId xmlns:a16="http://schemas.microsoft.com/office/drawing/2014/main" id="{7066A3DB-B129-5297-AB77-4EC8577B74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96316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E0FEC7D7-9264-BA40-ADD8-F31B31399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0656" y="1834018"/>
            <a:ext cx="4771444" cy="4285427"/>
          </a:xfrm>
        </p:spPr>
        <p:txBody>
          <a:bodyPr/>
          <a:lstStyle>
            <a:lvl1pPr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723995-8BFF-E840-BA7D-570C8FF42DE8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10" name="Picture 9" descr="Application&#10;&#10;Description automatically generated">
            <a:extLst>
              <a:ext uri="{FF2B5EF4-FFF2-40B4-BE49-F238E27FC236}">
                <a16:creationId xmlns:a16="http://schemas.microsoft.com/office/drawing/2014/main" id="{3062F0B8-540A-36D1-4727-6E7BB2766D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326255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+ image r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E0FEC7D7-9264-BA40-ADD8-F31B31399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0656" y="1879635"/>
            <a:ext cx="4771444" cy="3962365"/>
          </a:xfrm>
          <a:ln w="190500" cap="sq">
            <a:solidFill>
              <a:schemeClr val="accent1"/>
            </a:solidFill>
            <a:miter lim="800000"/>
          </a:ln>
        </p:spPr>
        <p:txBody>
          <a:bodyPr/>
          <a:lstStyle>
            <a:lvl1pPr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0F710F-5606-7646-A322-512C2DF26FF5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8" name="Picture 7" descr="Application&#10;&#10;Description automatically generated">
            <a:extLst>
              <a:ext uri="{FF2B5EF4-FFF2-40B4-BE49-F238E27FC236}">
                <a16:creationId xmlns:a16="http://schemas.microsoft.com/office/drawing/2014/main" id="{DA57C082-70B2-8F67-ED1B-9BF5D250EA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72677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+ content + image right gre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E47FCD96-9DEF-DE43-BA7E-C3EA2FA521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DACC9805-01DC-7F49-A819-B4690A2FA32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0656" y="1905361"/>
            <a:ext cx="4771444" cy="3987439"/>
          </a:xfrm>
          <a:ln w="190500" cap="sq">
            <a:solidFill>
              <a:srgbClr val="F6F6F6"/>
            </a:solidFill>
            <a:miter lim="800000"/>
          </a:ln>
        </p:spPr>
        <p:txBody>
          <a:bodyPr/>
          <a:lstStyle>
            <a:lvl1pPr algn="ctr">
              <a:buNone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4E5D589-72E0-BD4A-9A78-F78AE9ABE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A68431-98DC-F74F-AD3C-93A76AF496B4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| nutrition.org.uk</a:t>
            </a:r>
          </a:p>
          <a:p>
            <a:pPr algn="l"/>
            <a:endParaRPr lang="en-US" dirty="0"/>
          </a:p>
        </p:txBody>
      </p:sp>
      <p:pic>
        <p:nvPicPr>
          <p:cNvPr id="9" name="Picture 8" descr="Application&#10;&#10;Description automatically generated">
            <a:extLst>
              <a:ext uri="{FF2B5EF4-FFF2-40B4-BE49-F238E27FC236}">
                <a16:creationId xmlns:a16="http://schemas.microsoft.com/office/drawing/2014/main" id="{08155C08-5368-E5B0-ABD8-C1BB99C7F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007041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ular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8FA1AB0-DE6E-8A41-BDC7-E4CBA48F7A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AD4FA7-47A2-A845-AFB6-2F5B7E4EFB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8482" y="1834018"/>
            <a:ext cx="4294064" cy="4285427"/>
          </a:xfrm>
          <a:custGeom>
            <a:avLst/>
            <a:gdLst>
              <a:gd name="connsiteX0" fmla="*/ 2147032 w 4294064"/>
              <a:gd name="connsiteY0" fmla="*/ 0 h 4285427"/>
              <a:gd name="connsiteX1" fmla="*/ 4294064 w 4294064"/>
              <a:gd name="connsiteY1" fmla="*/ 2147032 h 4285427"/>
              <a:gd name="connsiteX2" fmla="*/ 2366554 w 4294064"/>
              <a:gd name="connsiteY2" fmla="*/ 4282979 h 4285427"/>
              <a:gd name="connsiteX3" fmla="*/ 2318076 w 4294064"/>
              <a:gd name="connsiteY3" fmla="*/ 4285427 h 4285427"/>
              <a:gd name="connsiteX4" fmla="*/ 1975989 w 4294064"/>
              <a:gd name="connsiteY4" fmla="*/ 4285427 h 4285427"/>
              <a:gd name="connsiteX5" fmla="*/ 1927510 w 4294064"/>
              <a:gd name="connsiteY5" fmla="*/ 4282979 h 4285427"/>
              <a:gd name="connsiteX6" fmla="*/ 0 w 4294064"/>
              <a:gd name="connsiteY6" fmla="*/ 2147032 h 4285427"/>
              <a:gd name="connsiteX7" fmla="*/ 2147032 w 4294064"/>
              <a:gd name="connsiteY7" fmla="*/ 0 h 428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4064" h="4285427">
                <a:moveTo>
                  <a:pt x="2147032" y="0"/>
                </a:moveTo>
                <a:cubicBezTo>
                  <a:pt x="3332805" y="0"/>
                  <a:pt x="4294064" y="961259"/>
                  <a:pt x="4294064" y="2147032"/>
                </a:cubicBezTo>
                <a:cubicBezTo>
                  <a:pt x="4294064" y="3258694"/>
                  <a:pt x="3449207" y="4173030"/>
                  <a:pt x="2366554" y="4282979"/>
                </a:cubicBezTo>
                <a:lnTo>
                  <a:pt x="2318076" y="4285427"/>
                </a:lnTo>
                <a:lnTo>
                  <a:pt x="1975989" y="4285427"/>
                </a:lnTo>
                <a:lnTo>
                  <a:pt x="1927510" y="4282979"/>
                </a:lnTo>
                <a:cubicBezTo>
                  <a:pt x="844857" y="4173030"/>
                  <a:pt x="0" y="3258694"/>
                  <a:pt x="0" y="2147032"/>
                </a:cubicBezTo>
                <a:cubicBezTo>
                  <a:pt x="0" y="961259"/>
                  <a:pt x="961259" y="0"/>
                  <a:pt x="2147032" y="0"/>
                </a:cubicBezTo>
                <a:close/>
              </a:path>
            </a:pathLst>
          </a:custGeom>
          <a:ln w="190500">
            <a:noFill/>
          </a:ln>
        </p:spPr>
        <p:txBody>
          <a:bodyPr wrap="square">
            <a:noAutofit/>
          </a:bodyPr>
          <a:lstStyle>
            <a:lvl1pPr marL="11113" indent="-11113" algn="ctr">
              <a:buNone/>
              <a:tabLst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CFA5C25-ADFE-0D4F-9B70-A516087F663B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9D611DF-85CD-6E49-B337-A5250CB1AF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D37E584-C520-4E4D-B02C-C269E530C1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pic>
        <p:nvPicPr>
          <p:cNvPr id="9" name="Picture 8" descr="Application&#10;&#10;Description automatically generated">
            <a:extLst>
              <a:ext uri="{FF2B5EF4-FFF2-40B4-BE49-F238E27FC236}">
                <a16:creationId xmlns:a16="http://schemas.microsoft.com/office/drawing/2014/main" id="{6852F5BB-1911-9AC2-98B3-653DDD7D56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216286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ular pic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8FA1AB0-DE6E-8A41-BDC7-E4CBA48F7A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AD4FA7-47A2-A845-AFB6-2F5B7E4EFB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8482" y="1834018"/>
            <a:ext cx="4294064" cy="4285427"/>
          </a:xfrm>
          <a:custGeom>
            <a:avLst/>
            <a:gdLst>
              <a:gd name="connsiteX0" fmla="*/ 2147032 w 4294064"/>
              <a:gd name="connsiteY0" fmla="*/ 0 h 4285427"/>
              <a:gd name="connsiteX1" fmla="*/ 4294064 w 4294064"/>
              <a:gd name="connsiteY1" fmla="*/ 2147032 h 4285427"/>
              <a:gd name="connsiteX2" fmla="*/ 2366554 w 4294064"/>
              <a:gd name="connsiteY2" fmla="*/ 4282979 h 4285427"/>
              <a:gd name="connsiteX3" fmla="*/ 2318076 w 4294064"/>
              <a:gd name="connsiteY3" fmla="*/ 4285427 h 4285427"/>
              <a:gd name="connsiteX4" fmla="*/ 1975989 w 4294064"/>
              <a:gd name="connsiteY4" fmla="*/ 4285427 h 4285427"/>
              <a:gd name="connsiteX5" fmla="*/ 1927510 w 4294064"/>
              <a:gd name="connsiteY5" fmla="*/ 4282979 h 4285427"/>
              <a:gd name="connsiteX6" fmla="*/ 0 w 4294064"/>
              <a:gd name="connsiteY6" fmla="*/ 2147032 h 4285427"/>
              <a:gd name="connsiteX7" fmla="*/ 2147032 w 4294064"/>
              <a:gd name="connsiteY7" fmla="*/ 0 h 428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4064" h="4285427">
                <a:moveTo>
                  <a:pt x="2147032" y="0"/>
                </a:moveTo>
                <a:cubicBezTo>
                  <a:pt x="3332805" y="0"/>
                  <a:pt x="4294064" y="961259"/>
                  <a:pt x="4294064" y="2147032"/>
                </a:cubicBezTo>
                <a:cubicBezTo>
                  <a:pt x="4294064" y="3258694"/>
                  <a:pt x="3449207" y="4173030"/>
                  <a:pt x="2366554" y="4282979"/>
                </a:cubicBezTo>
                <a:lnTo>
                  <a:pt x="2318076" y="4285427"/>
                </a:lnTo>
                <a:lnTo>
                  <a:pt x="1975989" y="4285427"/>
                </a:lnTo>
                <a:lnTo>
                  <a:pt x="1927510" y="4282979"/>
                </a:lnTo>
                <a:cubicBezTo>
                  <a:pt x="844857" y="4173030"/>
                  <a:pt x="0" y="3258694"/>
                  <a:pt x="0" y="2147032"/>
                </a:cubicBezTo>
                <a:cubicBezTo>
                  <a:pt x="0" y="961259"/>
                  <a:pt x="961259" y="0"/>
                  <a:pt x="2147032" y="0"/>
                </a:cubicBezTo>
                <a:close/>
              </a:path>
            </a:pathLst>
          </a:custGeom>
          <a:ln w="190500">
            <a:solidFill>
              <a:schemeClr val="accent1"/>
            </a:solidFill>
          </a:ln>
        </p:spPr>
        <p:txBody>
          <a:bodyPr wrap="square">
            <a:noAutofit/>
          </a:bodyPr>
          <a:lstStyle>
            <a:lvl1pPr marL="11113" indent="-11113" algn="ctr">
              <a:buNone/>
              <a:tabLst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7BAF6F-BDE8-424A-BFCD-5AE8C7FCB1BB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8869670A-24AC-684F-A8D4-0038316B22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5C53BA8-D198-1F41-8A67-8D3E591EA5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494D0B1-5AAE-6C48-92C2-DB80568AFF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723502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ular pic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AD4FA7-47A2-A845-AFB6-2F5B7E4EFB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88482" y="1834018"/>
            <a:ext cx="4294064" cy="4285427"/>
          </a:xfrm>
          <a:custGeom>
            <a:avLst/>
            <a:gdLst>
              <a:gd name="connsiteX0" fmla="*/ 2147032 w 4294064"/>
              <a:gd name="connsiteY0" fmla="*/ 0 h 4285427"/>
              <a:gd name="connsiteX1" fmla="*/ 4294064 w 4294064"/>
              <a:gd name="connsiteY1" fmla="*/ 2147032 h 4285427"/>
              <a:gd name="connsiteX2" fmla="*/ 2366554 w 4294064"/>
              <a:gd name="connsiteY2" fmla="*/ 4282979 h 4285427"/>
              <a:gd name="connsiteX3" fmla="*/ 2318076 w 4294064"/>
              <a:gd name="connsiteY3" fmla="*/ 4285427 h 4285427"/>
              <a:gd name="connsiteX4" fmla="*/ 1975989 w 4294064"/>
              <a:gd name="connsiteY4" fmla="*/ 4285427 h 4285427"/>
              <a:gd name="connsiteX5" fmla="*/ 1927510 w 4294064"/>
              <a:gd name="connsiteY5" fmla="*/ 4282979 h 4285427"/>
              <a:gd name="connsiteX6" fmla="*/ 0 w 4294064"/>
              <a:gd name="connsiteY6" fmla="*/ 2147032 h 4285427"/>
              <a:gd name="connsiteX7" fmla="*/ 2147032 w 4294064"/>
              <a:gd name="connsiteY7" fmla="*/ 0 h 428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94064" h="4285427">
                <a:moveTo>
                  <a:pt x="2147032" y="0"/>
                </a:moveTo>
                <a:cubicBezTo>
                  <a:pt x="3332805" y="0"/>
                  <a:pt x="4294064" y="961259"/>
                  <a:pt x="4294064" y="2147032"/>
                </a:cubicBezTo>
                <a:cubicBezTo>
                  <a:pt x="4294064" y="3258694"/>
                  <a:pt x="3449207" y="4173030"/>
                  <a:pt x="2366554" y="4282979"/>
                </a:cubicBezTo>
                <a:lnTo>
                  <a:pt x="2318076" y="4285427"/>
                </a:lnTo>
                <a:lnTo>
                  <a:pt x="1975989" y="4285427"/>
                </a:lnTo>
                <a:lnTo>
                  <a:pt x="1927510" y="4282979"/>
                </a:lnTo>
                <a:cubicBezTo>
                  <a:pt x="844857" y="4173030"/>
                  <a:pt x="0" y="3258694"/>
                  <a:pt x="0" y="2147032"/>
                </a:cubicBezTo>
                <a:cubicBezTo>
                  <a:pt x="0" y="961259"/>
                  <a:pt x="961259" y="0"/>
                  <a:pt x="2147032" y="0"/>
                </a:cubicBezTo>
                <a:close/>
              </a:path>
            </a:pathLst>
          </a:custGeom>
          <a:ln w="215900">
            <a:solidFill>
              <a:srgbClr val="F5F5F5"/>
            </a:solidFill>
          </a:ln>
        </p:spPr>
        <p:txBody>
          <a:bodyPr wrap="square">
            <a:noAutofit/>
          </a:bodyPr>
          <a:lstStyle>
            <a:lvl1pPr marL="11113" indent="-11113" algn="ctr">
              <a:buNone/>
              <a:tabLst/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715D3D-5C55-EF45-8531-8B14A9750D09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| nutrition.org.uk</a:t>
            </a:r>
          </a:p>
          <a:p>
            <a:pPr algn="l"/>
            <a:endParaRPr lang="en-US" dirty="0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F2EA6210-B64A-0243-B2E4-6166391F74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82B3DA0-339D-3444-B01F-1174339284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EC9E70D-1379-3B4C-96FA-964C6C0666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37735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BC76CB4F-648F-CD48-B7D2-4F2F7BF1E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70357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64313CC4-3183-4549-8567-8ED92738F2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6200000">
            <a:off x="7339653" y="2035963"/>
            <a:ext cx="6864627" cy="28448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8810A1B-9991-D644-B0FB-D05D6A589A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146" y="858911"/>
            <a:ext cx="8829420" cy="1739433"/>
          </a:xfrm>
        </p:spPr>
        <p:txBody>
          <a:bodyPr anchor="b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slid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3335796-8577-6A4F-8D57-F60569700A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147" y="2871635"/>
            <a:ext cx="8829419" cy="106314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-title, if needed 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A3A49B-7239-384B-A3B0-8600CA8D6427}"/>
              </a:ext>
            </a:extLst>
          </p:cNvPr>
          <p:cNvSpPr txBox="1"/>
          <p:nvPr userDrawn="1"/>
        </p:nvSpPr>
        <p:spPr>
          <a:xfrm>
            <a:off x="9540240" y="6571139"/>
            <a:ext cx="258064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9" name="Picture 8" descr="Application&#10;&#10;Description automatically generated">
            <a:extLst>
              <a:ext uri="{FF2B5EF4-FFF2-40B4-BE49-F238E27FC236}">
                <a16:creationId xmlns:a16="http://schemas.microsoft.com/office/drawing/2014/main" id="{9B49D4CF-4531-95DC-11AB-B88C6630F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0505" y="5190422"/>
            <a:ext cx="2154688" cy="126554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82071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pos="32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ular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F6FA56D-706C-8D4C-8422-725431357A2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69937" y="1938969"/>
            <a:ext cx="4341915" cy="4016524"/>
          </a:xfrm>
          <a:custGeom>
            <a:avLst/>
            <a:gdLst>
              <a:gd name="connsiteX0" fmla="*/ 2081674 w 4002710"/>
              <a:gd name="connsiteY0" fmla="*/ 3645586 h 3645586"/>
              <a:gd name="connsiteX1" fmla="*/ 2001355 w 4002710"/>
              <a:gd name="connsiteY1" fmla="*/ 3641738 h 3645586"/>
              <a:gd name="connsiteX2" fmla="*/ 1921036 w 4002710"/>
              <a:gd name="connsiteY2" fmla="*/ 3645586 h 3645586"/>
              <a:gd name="connsiteX3" fmla="*/ 0 w 4002710"/>
              <a:gd name="connsiteY3" fmla="*/ 3645586 h 3645586"/>
              <a:gd name="connsiteX4" fmla="*/ 0 w 4002710"/>
              <a:gd name="connsiteY4" fmla="*/ 1822793 h 3645586"/>
              <a:gd name="connsiteX5" fmla="*/ 1921036 w 4002710"/>
              <a:gd name="connsiteY5" fmla="*/ 0 h 3645586"/>
              <a:gd name="connsiteX6" fmla="*/ 2001355 w 4002710"/>
              <a:gd name="connsiteY6" fmla="*/ 3849 h 3645586"/>
              <a:gd name="connsiteX7" fmla="*/ 2081674 w 4002710"/>
              <a:gd name="connsiteY7" fmla="*/ 0 h 3645586"/>
              <a:gd name="connsiteX8" fmla="*/ 4002710 w 4002710"/>
              <a:gd name="connsiteY8" fmla="*/ 0 h 3645586"/>
              <a:gd name="connsiteX9" fmla="*/ 4002710 w 4002710"/>
              <a:gd name="connsiteY9" fmla="*/ 1822793 h 3645586"/>
              <a:gd name="connsiteX10" fmla="*/ 2081674 w 4002710"/>
              <a:gd name="connsiteY10" fmla="*/ 3645586 h 3645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02710" h="3645586">
                <a:moveTo>
                  <a:pt x="2081674" y="3645586"/>
                </a:moveTo>
                <a:lnTo>
                  <a:pt x="2001355" y="3641738"/>
                </a:lnTo>
                <a:lnTo>
                  <a:pt x="1921036" y="3645586"/>
                </a:lnTo>
                <a:lnTo>
                  <a:pt x="0" y="3645586"/>
                </a:lnTo>
                <a:lnTo>
                  <a:pt x="0" y="1822793"/>
                </a:lnTo>
                <a:cubicBezTo>
                  <a:pt x="0" y="816092"/>
                  <a:pt x="860077" y="0"/>
                  <a:pt x="1921036" y="0"/>
                </a:cubicBezTo>
                <a:lnTo>
                  <a:pt x="2001355" y="3849"/>
                </a:lnTo>
                <a:lnTo>
                  <a:pt x="2081674" y="0"/>
                </a:lnTo>
                <a:lnTo>
                  <a:pt x="4002710" y="0"/>
                </a:lnTo>
                <a:lnTo>
                  <a:pt x="4002710" y="1822793"/>
                </a:lnTo>
                <a:cubicBezTo>
                  <a:pt x="4002710" y="2829494"/>
                  <a:pt x="3142633" y="3645586"/>
                  <a:pt x="2081674" y="3645586"/>
                </a:cubicBezTo>
                <a:close/>
              </a:path>
            </a:pathLst>
          </a:custGeom>
          <a:ln w="0">
            <a:solidFill>
              <a:srgbClr val="F5F5F5"/>
            </a:solidFill>
            <a:miter lim="800000"/>
          </a:ln>
        </p:spPr>
        <p:txBody>
          <a:bodyPr wrap="square"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8F02296-880B-F147-8804-3CB6DE81CA6A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EA46E459-BF6B-5744-8FF0-44226A143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8B08707-7DF8-1A48-8400-1670F60A83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B3632B6-CF32-0F40-8DF7-CF2D1667CE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441087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rcular pic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18FA1AB0-DE6E-8A41-BDC7-E4CBA48F7A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08E9F13-4186-1441-99B0-F05129A3EE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69937" y="1938969"/>
            <a:ext cx="4341915" cy="4016524"/>
          </a:xfrm>
          <a:custGeom>
            <a:avLst/>
            <a:gdLst>
              <a:gd name="connsiteX0" fmla="*/ 2081674 w 4002710"/>
              <a:gd name="connsiteY0" fmla="*/ 3645586 h 3645586"/>
              <a:gd name="connsiteX1" fmla="*/ 2001355 w 4002710"/>
              <a:gd name="connsiteY1" fmla="*/ 3641738 h 3645586"/>
              <a:gd name="connsiteX2" fmla="*/ 1921036 w 4002710"/>
              <a:gd name="connsiteY2" fmla="*/ 3645586 h 3645586"/>
              <a:gd name="connsiteX3" fmla="*/ 0 w 4002710"/>
              <a:gd name="connsiteY3" fmla="*/ 3645586 h 3645586"/>
              <a:gd name="connsiteX4" fmla="*/ 0 w 4002710"/>
              <a:gd name="connsiteY4" fmla="*/ 1822793 h 3645586"/>
              <a:gd name="connsiteX5" fmla="*/ 1921036 w 4002710"/>
              <a:gd name="connsiteY5" fmla="*/ 0 h 3645586"/>
              <a:gd name="connsiteX6" fmla="*/ 2001355 w 4002710"/>
              <a:gd name="connsiteY6" fmla="*/ 3849 h 3645586"/>
              <a:gd name="connsiteX7" fmla="*/ 2081674 w 4002710"/>
              <a:gd name="connsiteY7" fmla="*/ 0 h 3645586"/>
              <a:gd name="connsiteX8" fmla="*/ 4002710 w 4002710"/>
              <a:gd name="connsiteY8" fmla="*/ 0 h 3645586"/>
              <a:gd name="connsiteX9" fmla="*/ 4002710 w 4002710"/>
              <a:gd name="connsiteY9" fmla="*/ 1822793 h 3645586"/>
              <a:gd name="connsiteX10" fmla="*/ 2081674 w 4002710"/>
              <a:gd name="connsiteY10" fmla="*/ 3645586 h 3645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02710" h="3645586">
                <a:moveTo>
                  <a:pt x="2081674" y="3645586"/>
                </a:moveTo>
                <a:lnTo>
                  <a:pt x="2001355" y="3641738"/>
                </a:lnTo>
                <a:lnTo>
                  <a:pt x="1921036" y="3645586"/>
                </a:lnTo>
                <a:lnTo>
                  <a:pt x="0" y="3645586"/>
                </a:lnTo>
                <a:lnTo>
                  <a:pt x="0" y="1822793"/>
                </a:lnTo>
                <a:cubicBezTo>
                  <a:pt x="0" y="816092"/>
                  <a:pt x="860077" y="0"/>
                  <a:pt x="1921036" y="0"/>
                </a:cubicBezTo>
                <a:lnTo>
                  <a:pt x="2001355" y="3849"/>
                </a:lnTo>
                <a:lnTo>
                  <a:pt x="2081674" y="0"/>
                </a:lnTo>
                <a:lnTo>
                  <a:pt x="4002710" y="0"/>
                </a:lnTo>
                <a:lnTo>
                  <a:pt x="4002710" y="1822793"/>
                </a:lnTo>
                <a:cubicBezTo>
                  <a:pt x="4002710" y="2829494"/>
                  <a:pt x="3142633" y="3645586"/>
                  <a:pt x="2081674" y="3645586"/>
                </a:cubicBezTo>
                <a:close/>
              </a:path>
            </a:pathLst>
          </a:custGeom>
          <a:ln w="215900">
            <a:solidFill>
              <a:srgbClr val="53B058"/>
            </a:solidFill>
            <a:miter lim="800000"/>
          </a:ln>
        </p:spPr>
        <p:txBody>
          <a:bodyPr wrap="square"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97FF6A-0F69-F94B-B2C1-43C897CABE2C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9B326CD-D89D-1F42-A6FE-E73612278C5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FB47E8-4F76-9E44-A277-AAA9A141F0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pic>
        <p:nvPicPr>
          <p:cNvPr id="8" name="Picture 7" descr="Application&#10;&#10;Description automatically generated">
            <a:extLst>
              <a:ext uri="{FF2B5EF4-FFF2-40B4-BE49-F238E27FC236}">
                <a16:creationId xmlns:a16="http://schemas.microsoft.com/office/drawing/2014/main" id="{9E4BFFE4-BCEF-EF80-6C41-A7D3198986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310145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ular pic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FC776B-FB98-664E-8161-25A520752A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69937" y="1938969"/>
            <a:ext cx="4341915" cy="4016524"/>
          </a:xfrm>
          <a:custGeom>
            <a:avLst/>
            <a:gdLst>
              <a:gd name="connsiteX0" fmla="*/ 2081674 w 4002710"/>
              <a:gd name="connsiteY0" fmla="*/ 3645586 h 3645586"/>
              <a:gd name="connsiteX1" fmla="*/ 2001355 w 4002710"/>
              <a:gd name="connsiteY1" fmla="*/ 3641738 h 3645586"/>
              <a:gd name="connsiteX2" fmla="*/ 1921036 w 4002710"/>
              <a:gd name="connsiteY2" fmla="*/ 3645586 h 3645586"/>
              <a:gd name="connsiteX3" fmla="*/ 0 w 4002710"/>
              <a:gd name="connsiteY3" fmla="*/ 3645586 h 3645586"/>
              <a:gd name="connsiteX4" fmla="*/ 0 w 4002710"/>
              <a:gd name="connsiteY4" fmla="*/ 1822793 h 3645586"/>
              <a:gd name="connsiteX5" fmla="*/ 1921036 w 4002710"/>
              <a:gd name="connsiteY5" fmla="*/ 0 h 3645586"/>
              <a:gd name="connsiteX6" fmla="*/ 2001355 w 4002710"/>
              <a:gd name="connsiteY6" fmla="*/ 3849 h 3645586"/>
              <a:gd name="connsiteX7" fmla="*/ 2081674 w 4002710"/>
              <a:gd name="connsiteY7" fmla="*/ 0 h 3645586"/>
              <a:gd name="connsiteX8" fmla="*/ 4002710 w 4002710"/>
              <a:gd name="connsiteY8" fmla="*/ 0 h 3645586"/>
              <a:gd name="connsiteX9" fmla="*/ 4002710 w 4002710"/>
              <a:gd name="connsiteY9" fmla="*/ 1822793 h 3645586"/>
              <a:gd name="connsiteX10" fmla="*/ 2081674 w 4002710"/>
              <a:gd name="connsiteY10" fmla="*/ 3645586 h 3645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02710" h="3645586">
                <a:moveTo>
                  <a:pt x="2081674" y="3645586"/>
                </a:moveTo>
                <a:lnTo>
                  <a:pt x="2001355" y="3641738"/>
                </a:lnTo>
                <a:lnTo>
                  <a:pt x="1921036" y="3645586"/>
                </a:lnTo>
                <a:lnTo>
                  <a:pt x="0" y="3645586"/>
                </a:lnTo>
                <a:lnTo>
                  <a:pt x="0" y="1822793"/>
                </a:lnTo>
                <a:cubicBezTo>
                  <a:pt x="0" y="816092"/>
                  <a:pt x="860077" y="0"/>
                  <a:pt x="1921036" y="0"/>
                </a:cubicBezTo>
                <a:lnTo>
                  <a:pt x="2001355" y="3849"/>
                </a:lnTo>
                <a:lnTo>
                  <a:pt x="2081674" y="0"/>
                </a:lnTo>
                <a:lnTo>
                  <a:pt x="4002710" y="0"/>
                </a:lnTo>
                <a:lnTo>
                  <a:pt x="4002710" y="1822793"/>
                </a:lnTo>
                <a:cubicBezTo>
                  <a:pt x="4002710" y="2829494"/>
                  <a:pt x="3142633" y="3645586"/>
                  <a:pt x="2081674" y="3645586"/>
                </a:cubicBezTo>
                <a:close/>
              </a:path>
            </a:pathLst>
          </a:custGeom>
          <a:ln w="215900">
            <a:solidFill>
              <a:srgbClr val="F5F5F5"/>
            </a:solidFill>
            <a:miter lim="800000"/>
          </a:ln>
        </p:spPr>
        <p:txBody>
          <a:bodyPr wrap="square"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A7B9A1-7C66-864F-89E8-C6ADB63E1A29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B73CA2F-4623-4D4B-A47D-FF9678A7F1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8EC04-FB54-D045-B426-EEE6223048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1834018"/>
            <a:ext cx="5113962" cy="4320598"/>
          </a:xfrm>
        </p:spPr>
        <p:txBody>
          <a:bodyPr>
            <a:normAutofit/>
          </a:bodyPr>
          <a:lstStyle>
            <a:lvl1pPr marL="11113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 dolore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fugia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pariatur</a:t>
            </a:r>
            <a:r>
              <a:rPr lang="en-US"/>
              <a:t>. </a:t>
            </a:r>
          </a:p>
          <a:p>
            <a:pPr marL="11113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8194759D-C047-4584-9985-1F6CF97C13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1391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46CB4C33-DED6-0041-ABA7-C287261569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13" y="0"/>
            <a:ext cx="12192000" cy="6870357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8C00819-1863-6940-A124-E327526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8892" y="2563125"/>
            <a:ext cx="4969058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 dirty="0"/>
              <a:t>Bullet point 1</a:t>
            </a:r>
          </a:p>
          <a:p>
            <a:pPr lvl="0"/>
            <a:r>
              <a:rPr lang="en-US" dirty="0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3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4BB5041-5687-9144-842B-22626597F7F1}"/>
              </a:ext>
            </a:extLst>
          </p:cNvPr>
          <p:cNvCxnSpPr/>
          <p:nvPr userDrawn="1"/>
        </p:nvCxnSpPr>
        <p:spPr>
          <a:xfrm>
            <a:off x="6122502" y="2563124"/>
            <a:ext cx="0" cy="36653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B16F0E1-97B4-594E-9C49-8B7B22F185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" y="1796338"/>
            <a:ext cx="10727572" cy="375651"/>
          </a:xfrm>
        </p:spPr>
        <p:txBody>
          <a:bodyPr/>
          <a:lstStyle>
            <a:lvl1pPr marL="11113" indent="-11113">
              <a:buNone/>
              <a:tabLst/>
              <a:defRPr sz="2000" b="1"/>
            </a:lvl1pPr>
          </a:lstStyle>
          <a:p>
            <a:pPr lvl="0"/>
            <a:r>
              <a:rPr lang="en-GB"/>
              <a:t>Subhead</a:t>
            </a: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3A390E3-140E-E547-9E8B-4D9B3D18BD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400" y="2575206"/>
            <a:ext cx="5027062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267F82-1D76-804E-973A-8BD5C66E480F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75FED602-3608-C440-81BC-8A58012E92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7E5CF72D-FEFF-9545-B378-3B5DC80864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078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919DBBC8-A3C9-A74F-BB81-8A62310F99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035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33F634-82E2-4B47-98BE-CD0967D974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2827" y="2563125"/>
            <a:ext cx="3093312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856031A-581E-C943-808C-901EA96AC8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7405" y="2563125"/>
            <a:ext cx="3145251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/>
              <a:t>Bullet point 1</a:t>
            </a:r>
          </a:p>
          <a:p>
            <a:pPr lvl="0"/>
            <a:r>
              <a:rPr lang="en-US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ullet point 3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FD0595-D54C-E24E-A8CB-E3E68A7946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3922" y="2563124"/>
            <a:ext cx="3145251" cy="3665397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12700" indent="211138">
              <a:tabLst/>
              <a:defRPr/>
            </a:lvl2pPr>
            <a:lvl3pPr marL="250825" indent="-250825">
              <a:tabLst/>
              <a:defRPr/>
            </a:lvl3pPr>
          </a:lstStyle>
          <a:p>
            <a:pPr lvl="0"/>
            <a:r>
              <a:rPr lang="en-US" dirty="0"/>
              <a:t>Bullet point 1</a:t>
            </a:r>
          </a:p>
          <a:p>
            <a:pPr lvl="0"/>
            <a:r>
              <a:rPr lang="en-US" dirty="0"/>
              <a:t>Bullet point 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3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B489203-48C7-F54C-8920-EA20CDF631BF}"/>
              </a:ext>
            </a:extLst>
          </p:cNvPr>
          <p:cNvCxnSpPr/>
          <p:nvPr userDrawn="1"/>
        </p:nvCxnSpPr>
        <p:spPr>
          <a:xfrm>
            <a:off x="4174434" y="2563124"/>
            <a:ext cx="0" cy="36653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AF4720-9450-BD4A-A2D6-2D17BE596D7C}"/>
              </a:ext>
            </a:extLst>
          </p:cNvPr>
          <p:cNvCxnSpPr/>
          <p:nvPr userDrawn="1"/>
        </p:nvCxnSpPr>
        <p:spPr>
          <a:xfrm>
            <a:off x="7931425" y="2563123"/>
            <a:ext cx="0" cy="366539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15BDEDA3-9C0B-2D41-BD95-C8EAC73CB0CE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| nutrition.org.uk</a:t>
            </a:r>
          </a:p>
          <a:p>
            <a:pPr algn="l"/>
            <a:endParaRPr lang="en-US" dirty="0"/>
          </a:p>
        </p:txBody>
      </p:sp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E738B259-EB2F-7244-9170-5F932993ED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9AF931A-9886-1042-B92F-216BAF6998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" y="1796338"/>
            <a:ext cx="10727572" cy="375651"/>
          </a:xfrm>
        </p:spPr>
        <p:txBody>
          <a:bodyPr/>
          <a:lstStyle>
            <a:lvl1pPr marL="11113" indent="-11113">
              <a:buNone/>
              <a:tabLst/>
              <a:defRPr sz="2000" b="1"/>
            </a:lvl1pPr>
          </a:lstStyle>
          <a:p>
            <a:pPr lvl="0"/>
            <a:r>
              <a:rPr lang="en-GB"/>
              <a:t>Subhead</a:t>
            </a:r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926E213-08BB-664B-B1AE-978F00DD8A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2" y="703384"/>
            <a:ext cx="10433208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2997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555449"/>
            <a:ext cx="12213536" cy="87206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Thank you</a:t>
            </a:r>
            <a:endParaRPr lang="en-US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91C7F613-5B79-674E-8CAB-8F5D864B8D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6043" y="3252721"/>
            <a:ext cx="12213536" cy="360527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1E94BFF-B5AB-E943-9CFC-F78F07288D42}"/>
              </a:ext>
            </a:extLst>
          </p:cNvPr>
          <p:cNvSpPr txBox="1"/>
          <p:nvPr userDrawn="1"/>
        </p:nvSpPr>
        <p:spPr>
          <a:xfrm>
            <a:off x="9530079" y="6553273"/>
            <a:ext cx="256032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5D802721-F079-CDD6-D932-1515DA775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34650" y="134920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603904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EBA110A-BAEB-0141-973A-FEA95AAEC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56937"/>
            <a:ext cx="12213536" cy="872063"/>
          </a:xfrm>
        </p:spPr>
        <p:txBody>
          <a:bodyPr anchor="b"/>
          <a:lstStyle>
            <a:lvl1pPr algn="ctr">
              <a:defRPr sz="6000">
                <a:solidFill>
                  <a:srgbClr val="53B058"/>
                </a:solidFill>
              </a:defRPr>
            </a:lvl1pPr>
          </a:lstStyle>
          <a:p>
            <a:r>
              <a:rPr lang="en-GB"/>
              <a:t>Thank you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FE22AF-0330-2E42-9C9B-80BD71BF264F}"/>
              </a:ext>
            </a:extLst>
          </p:cNvPr>
          <p:cNvSpPr txBox="1"/>
          <p:nvPr userDrawn="1"/>
        </p:nvSpPr>
        <p:spPr>
          <a:xfrm>
            <a:off x="132079" y="6553273"/>
            <a:ext cx="256032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E40DADFA-8F30-C641-B0C6-AE73CFAC37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659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A66A6321-CBAF-2A40-8801-01BE35D3A9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9010" y="-332154"/>
            <a:ext cx="12192000" cy="719015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5424188-BEB1-9E4C-8C10-2E7F33C47095}"/>
              </a:ext>
            </a:extLst>
          </p:cNvPr>
          <p:cNvSpPr txBox="1"/>
          <p:nvPr userDrawn="1"/>
        </p:nvSpPr>
        <p:spPr>
          <a:xfrm>
            <a:off x="132079" y="6553273"/>
            <a:ext cx="256032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418ACBB8-3624-6048-8969-2D44ADD00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7710" y="6057546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7843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037999-8E9D-CB42-AFEF-527263847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264A9D-E9B5-7A42-A727-3F19B36C0956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358F46-BC37-4F4E-861D-6428C6E41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287616-CD83-D745-AF7C-66B5A3E7A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F97D5-0B3E-114F-A06B-FEADF0846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659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9AFA5309-0ABE-AB2F-E8DC-CADE041C1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91F1E5D-5E12-09D1-44B6-7A1A05B6DDAB}"/>
              </a:ext>
            </a:extLst>
          </p:cNvPr>
          <p:cNvSpPr txBox="1"/>
          <p:nvPr userDrawn="1"/>
        </p:nvSpPr>
        <p:spPr>
          <a:xfrm>
            <a:off x="132079" y="6553273"/>
            <a:ext cx="349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  <p:pic>
        <p:nvPicPr>
          <p:cNvPr id="4" name="Picture 3" descr="Application&#10;&#10;Description automatically generated">
            <a:extLst>
              <a:ext uri="{FF2B5EF4-FFF2-40B4-BE49-F238E27FC236}">
                <a16:creationId xmlns:a16="http://schemas.microsoft.com/office/drawing/2014/main" id="{407C1CE0-847F-6D5F-07BD-129D8D939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41100" y="5706778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67DA6DE9-E303-F331-5885-B6FD67F419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8891" y="703384"/>
            <a:ext cx="10589793" cy="691661"/>
          </a:xfrm>
        </p:spPr>
        <p:txBody>
          <a:bodyPr anchor="b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926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B98D0707-8F8F-B146-8C52-B561FD0917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3840" y="-40640"/>
            <a:ext cx="8138160" cy="68856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146" y="848751"/>
            <a:ext cx="10025934" cy="1739433"/>
          </a:xfrm>
        </p:spPr>
        <p:txBody>
          <a:bodyPr anchor="b"/>
          <a:lstStyle>
            <a:lvl1pPr algn="l">
              <a:defRPr sz="6000">
                <a:solidFill>
                  <a:srgbClr val="53B058"/>
                </a:solidFill>
              </a:defRPr>
            </a:lvl1pPr>
          </a:lstStyle>
          <a:p>
            <a:r>
              <a:rPr lang="en-GB"/>
              <a:t>Title </a:t>
            </a:r>
            <a:br>
              <a:rPr lang="en-GB"/>
            </a:br>
            <a:r>
              <a:rPr lang="en-GB"/>
              <a:t>slide 3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385A77F-4613-6A49-889D-044A5256C1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147" y="2861475"/>
            <a:ext cx="10025933" cy="106314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-title, if needed </a:t>
            </a:r>
            <a:endParaRPr lang="en-US"/>
          </a:p>
        </p:txBody>
      </p:sp>
      <p:pic>
        <p:nvPicPr>
          <p:cNvPr id="8" name="Picture 7" descr="Logo&#10;&#10;Description automatically generated with medium confidence">
            <a:extLst>
              <a:ext uri="{FF2B5EF4-FFF2-40B4-BE49-F238E27FC236}">
                <a16:creationId xmlns:a16="http://schemas.microsoft.com/office/drawing/2014/main" id="{3DBE9F0C-B0C1-364F-9445-D831842771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8160" y="5212026"/>
            <a:ext cx="3402048" cy="10631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301A21-E7B2-3447-BA9B-2E25416FEAE5}"/>
              </a:ext>
            </a:extLst>
          </p:cNvPr>
          <p:cNvSpPr txBox="1"/>
          <p:nvPr userDrawn="1"/>
        </p:nvSpPr>
        <p:spPr>
          <a:xfrm>
            <a:off x="9540240" y="6571139"/>
            <a:ext cx="258064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519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  <p15:guide id="2" pos="32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31552112-1EDA-1348-9A06-E85F69628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159" y="-1"/>
            <a:ext cx="12192000" cy="68703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rgbClr val="53B058"/>
                </a:solidFill>
              </a:defRPr>
            </a:lvl1pPr>
          </a:lstStyle>
          <a:p>
            <a:r>
              <a:rPr lang="en-GB"/>
              <a:t>Section Divider: Plain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5750F5-B00C-4841-AA7D-EE297926A599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sz="1000" dirty="0"/>
          </a:p>
        </p:txBody>
      </p:sp>
      <p:pic>
        <p:nvPicPr>
          <p:cNvPr id="7" name="Picture 6" descr="Application&#10;&#10;Description automatically generated">
            <a:extLst>
              <a:ext uri="{FF2B5EF4-FFF2-40B4-BE49-F238E27FC236}">
                <a16:creationId xmlns:a16="http://schemas.microsoft.com/office/drawing/2014/main" id="{1323AEA1-3D92-9586-6AB0-BF66DC1C9C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36250" y="5839563"/>
            <a:ext cx="1555750" cy="9137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784744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5AB137F7-4470-674A-B763-E69F613E2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169" y="0"/>
            <a:ext cx="12192000" cy="68703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FEAB991-7420-4B4E-9529-11ABD23382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Divider: Blocks</a:t>
            </a:r>
            <a:endParaRPr lang="en-US"/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E0A7485E-FABC-9C45-807C-45B10991B7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339" y="4994031"/>
            <a:ext cx="12024984" cy="1875692"/>
          </a:xfrm>
          <a:prstGeom prst="rect">
            <a:avLst/>
          </a:prstGeom>
        </p:spPr>
      </p:pic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220313A8-413D-A444-A021-CB153809DA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23329" y="275411"/>
            <a:ext cx="534991" cy="5349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E944D1F-16E2-1C42-BC01-40BDA1B0C498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759517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7A7948B9-E2D7-0C46-BBD5-8A8901B48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09"/>
          <a:stretch/>
        </p:blipFill>
        <p:spPr>
          <a:xfrm>
            <a:off x="0" y="0"/>
            <a:ext cx="12192000" cy="68783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Green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00FF99-9F59-0540-BF93-0DA39ED3074D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3| nutrition.org.uk</a:t>
            </a:r>
          </a:p>
          <a:p>
            <a:pPr algn="l"/>
            <a:endParaRPr lang="en-US" sz="1000" dirty="0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A06CF6AA-2ABC-A442-9DCD-CD50B26D3C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717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t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71B6609C-F2CE-8D4A-8125-64CCCDB288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83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Tan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E67CE2-3041-1547-9F0B-C855A7A3F576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sz="1000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22E77DFA-D338-1E4E-9FCD-DFD64BA6C3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29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85F87BC-EFDD-D244-85B2-858EE64E2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347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Section Divider: Yellow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2E68D0-1A0A-0841-8342-AD55AE73F016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sz="1000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D5AF871-7C29-084E-8C12-C2368388D5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033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3349783A-3F3D-2048-A533-417AE864E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63"/>
          <a:stretch/>
        </p:blipFill>
        <p:spPr>
          <a:xfrm>
            <a:off x="0" y="-54429"/>
            <a:ext cx="12192000" cy="69124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5BB7FF-0181-5642-9A5C-C34FEA9707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2590799"/>
            <a:ext cx="12192000" cy="643155"/>
          </a:xfrm>
        </p:spPr>
        <p:txBody>
          <a:bodyPr anchor="b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Divider: Blu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CF2284-C5F6-F247-990C-4AF26C41B122}"/>
              </a:ext>
            </a:extLst>
          </p:cNvPr>
          <p:cNvSpPr txBox="1"/>
          <p:nvPr userDrawn="1"/>
        </p:nvSpPr>
        <p:spPr>
          <a:xfrm>
            <a:off x="132079" y="6553273"/>
            <a:ext cx="32715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British Nutrition Foundation 2023 | nutrition.org.uk</a:t>
            </a:r>
          </a:p>
          <a:p>
            <a:pPr algn="l"/>
            <a:endParaRPr lang="en-US" sz="1000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E6954E2-285B-2B47-92D3-F16E53FA2A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486" y="6047718"/>
            <a:ext cx="643155" cy="64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579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26C4D72-AE0F-FE4B-B6A5-4581A0B2D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4E3A59-2058-7442-9528-A596EE7C5F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E8C908-3946-184B-98CF-F23A68BC41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64A9D-E9B5-7A42-A727-3F19B36C0956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50DA2C-8883-AF4F-98A4-CB3E52833C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6AD9E1-5C2C-4043-83EB-2BF8C8F736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8F97D5-0B3E-114F-A06B-FEADF0846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954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0" r:id="rId3"/>
    <p:sldLayoutId id="2147483662" r:id="rId4"/>
    <p:sldLayoutId id="2147483663" r:id="rId5"/>
    <p:sldLayoutId id="2147483674" r:id="rId6"/>
    <p:sldLayoutId id="2147483677" r:id="rId7"/>
    <p:sldLayoutId id="2147483675" r:id="rId8"/>
    <p:sldLayoutId id="2147483678" r:id="rId9"/>
    <p:sldLayoutId id="2147483679" r:id="rId10"/>
    <p:sldLayoutId id="2147483664" r:id="rId11"/>
    <p:sldLayoutId id="2147483687" r:id="rId12"/>
    <p:sldLayoutId id="2147483666" r:id="rId13"/>
    <p:sldLayoutId id="2147483670" r:id="rId14"/>
    <p:sldLayoutId id="2147483681" r:id="rId15"/>
    <p:sldLayoutId id="2147483682" r:id="rId16"/>
    <p:sldLayoutId id="2147483665" r:id="rId17"/>
    <p:sldLayoutId id="2147483683" r:id="rId18"/>
    <p:sldLayoutId id="2147483680" r:id="rId19"/>
    <p:sldLayoutId id="2147483684" r:id="rId20"/>
    <p:sldLayoutId id="2147483685" r:id="rId21"/>
    <p:sldLayoutId id="2147483686" r:id="rId22"/>
    <p:sldLayoutId id="2147483673" r:id="rId23"/>
    <p:sldLayoutId id="2147483667" r:id="rId24"/>
    <p:sldLayoutId id="2147483668" r:id="rId25"/>
    <p:sldLayoutId id="2147483669" r:id="rId26"/>
    <p:sldLayoutId id="2147483671" r:id="rId27"/>
    <p:sldLayoutId id="2147483655" r:id="rId28"/>
    <p:sldLayoutId id="2147483688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1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7.jp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60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Relationship Id="rId9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72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10" Type="http://schemas.openxmlformats.org/officeDocument/2006/relationships/image" Target="../media/image78.jpeg"/><Relationship Id="rId4" Type="http://schemas.openxmlformats.org/officeDocument/2006/relationships/image" Target="../media/image73.png"/><Relationship Id="rId9" Type="http://schemas.openxmlformats.org/officeDocument/2006/relationships/image" Target="../media/image7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82.png"/><Relationship Id="rId4" Type="http://schemas.openxmlformats.org/officeDocument/2006/relationships/image" Target="../media/image8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Relationship Id="rId9" Type="http://schemas.openxmlformats.org/officeDocument/2006/relationships/image" Target="../media/image84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95.jpeg"/><Relationship Id="rId5" Type="http://schemas.openxmlformats.org/officeDocument/2006/relationships/image" Target="../media/image94.png"/><Relationship Id="rId4" Type="http://schemas.openxmlformats.org/officeDocument/2006/relationships/image" Target="../media/image93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utrition.org.uk/healthy-eating-week-2023/" TargetMode="Externa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oleObject" Target="../embeddings/oleObject1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emf"/><Relationship Id="rId9" Type="http://schemas.openxmlformats.org/officeDocument/2006/relationships/image" Target="../media/image39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FC6508E-64EC-F921-D891-4D25C5E6AC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6282" y="1151619"/>
            <a:ext cx="9353320" cy="1739433"/>
          </a:xfrm>
        </p:spPr>
        <p:txBody>
          <a:bodyPr>
            <a:normAutofit/>
          </a:bodyPr>
          <a:lstStyle/>
          <a:p>
            <a:r>
              <a:rPr lang="en-US" sz="5400" dirty="0"/>
              <a:t>Healthy Eating Week 2023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252EFDA-B7E9-31A3-0815-54BAB0925F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2608" y="3164343"/>
            <a:ext cx="7632856" cy="1063140"/>
          </a:xfrm>
        </p:spPr>
        <p:txBody>
          <a:bodyPr/>
          <a:lstStyle/>
          <a:p>
            <a:r>
              <a:rPr lang="en-US" dirty="0"/>
              <a:t>12-16 June 2023</a:t>
            </a:r>
          </a:p>
        </p:txBody>
      </p:sp>
    </p:spTree>
    <p:extLst>
      <p:ext uri="{BB962C8B-B14F-4D97-AF65-F5344CB8AC3E}">
        <p14:creationId xmlns:p14="http://schemas.microsoft.com/office/powerpoint/2010/main" val="2812215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160966E-80DE-9610-7C21-8A4D3101C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7339" y="1530823"/>
            <a:ext cx="2600497" cy="21921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EB1F2D-221A-0C5D-9E3B-65A80AB896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6720" y="3962463"/>
            <a:ext cx="2600496" cy="21921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2148C3A-A93B-BEED-32B5-5AE45BA691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7029" y="1530823"/>
            <a:ext cx="2600497" cy="2192154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253746E3-08C7-169C-1221-8C142D6A28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8892" y="703384"/>
            <a:ext cx="10433208" cy="691661"/>
          </a:xfrm>
        </p:spPr>
        <p:txBody>
          <a:bodyPr anchor="b">
            <a:normAutofit/>
          </a:bodyPr>
          <a:lstStyle/>
          <a:p>
            <a:r>
              <a:rPr lang="en-GB" sz="3600">
                <a:latin typeface="Georgia"/>
              </a:rPr>
              <a:t>Here are some examples of wholegrain food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68A368-58C3-173B-552F-B9F0B118BA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7337" y="3962462"/>
            <a:ext cx="2600497" cy="219215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6A7477F-05D9-A125-CE57-803043A3A1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6720" y="1530824"/>
            <a:ext cx="2600496" cy="219215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12B943-AEB1-100E-83AB-48FB960F9F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7030" y="3962463"/>
            <a:ext cx="2600496" cy="219215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 descr="Chart&#10;&#10;Description automatically generated with medium confidence">
            <a:extLst>
              <a:ext uri="{FF2B5EF4-FFF2-40B4-BE49-F238E27FC236}">
                <a16:creationId xmlns:a16="http://schemas.microsoft.com/office/drawing/2014/main" id="{66F3B518-CA6D-8677-1DE0-E65D8939CF5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805" y="195380"/>
            <a:ext cx="1346742" cy="134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39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38C63-93F0-F0EB-C040-9EB5FD9C206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sider the penn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21C55C-0916-AF3E-059B-EE4B8FBACFC7}"/>
              </a:ext>
            </a:extLst>
          </p:cNvPr>
          <p:cNvSpPr txBox="1"/>
          <p:nvPr/>
        </p:nvSpPr>
        <p:spPr>
          <a:xfrm>
            <a:off x="927100" y="1714500"/>
            <a:ext cx="9156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ow could you have more higher fibre foods in an affordable way?</a:t>
            </a: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059A6753-AA68-2F6D-B3B0-03B25229D30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505" y="233480"/>
            <a:ext cx="1346742" cy="1346742"/>
          </a:xfrm>
          <a:prstGeom prst="rect">
            <a:avLst/>
          </a:prstGeom>
        </p:spPr>
      </p:pic>
      <p:pic>
        <p:nvPicPr>
          <p:cNvPr id="6" name="Picture 5" descr="A picture containing furniture, building material&#10;&#10;Description automatically generated">
            <a:extLst>
              <a:ext uri="{FF2B5EF4-FFF2-40B4-BE49-F238E27FC236}">
                <a16:creationId xmlns:a16="http://schemas.microsoft.com/office/drawing/2014/main" id="{243371E1-8656-3DE5-C396-8841954F48F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9658" y="2370980"/>
            <a:ext cx="1998211" cy="2868381"/>
          </a:xfrm>
          <a:prstGeom prst="rect">
            <a:avLst/>
          </a:prstGeom>
          <a:ln w="25400">
            <a:solidFill>
              <a:srgbClr val="53B058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235FDE1-6A08-BFC7-9A25-DF5AFDC3E65E}"/>
              </a:ext>
            </a:extLst>
          </p:cNvPr>
          <p:cNvSpPr txBox="1"/>
          <p:nvPr/>
        </p:nvSpPr>
        <p:spPr>
          <a:xfrm>
            <a:off x="696886" y="5302446"/>
            <a:ext cx="44235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Buy larger bags of wholegrain pasta, rice and cereals – remember to be food wise and only cook what you need though!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998AEC-0E98-6B4B-6292-2B1E2FE496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14101" y="2434065"/>
            <a:ext cx="1908356" cy="2742212"/>
          </a:xfrm>
          <a:prstGeom prst="rect">
            <a:avLst/>
          </a:prstGeom>
          <a:ln w="25400">
            <a:solidFill>
              <a:srgbClr val="53B058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5953A33-7A73-08CC-8F7D-3D5EF1830CB9}"/>
              </a:ext>
            </a:extLst>
          </p:cNvPr>
          <p:cNvSpPr txBox="1"/>
          <p:nvPr/>
        </p:nvSpPr>
        <p:spPr>
          <a:xfrm>
            <a:off x="5941739" y="5302446"/>
            <a:ext cx="464776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en-GB" dirty="0">
                <a:latin typeface="Arial" panose="020B0604020202020204" pitchFamily="34" charset="0"/>
                <a:ea typeface="Times New Roman" panose="02020603050405020304" pitchFamily="18" charset="0"/>
              </a:rPr>
              <a:t>T</a:t>
            </a:r>
            <a:r>
              <a:rPr lang="en-GB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y own brand canned beans, pulses and lentils as these can be better value than branded versions.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398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6E14F1-9038-5C5A-93FB-11A59C9F34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0" i="0" dirty="0">
                <a:effectLst/>
              </a:rPr>
              <a:t>Get at least 5 A DAY – canned and frozen </a:t>
            </a:r>
            <a:br>
              <a:rPr lang="en-GB" b="0" i="0" dirty="0">
                <a:effectLst/>
              </a:rPr>
            </a:br>
            <a:r>
              <a:rPr lang="en-GB" b="0" i="0" dirty="0">
                <a:effectLst/>
              </a:rPr>
              <a:t>count too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41E70A-C562-419A-E213-EB1990514F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i="0" u="none" strike="noStrike" baseline="0" dirty="0">
                <a:solidFill>
                  <a:srgbClr val="000000"/>
                </a:solidFill>
                <a:latin typeface="+mj-lt"/>
              </a:rPr>
              <a:t>Have at least 5 portions of a variety of fruit and vegetables every day.	</a:t>
            </a:r>
            <a:endParaRPr lang="en-GB" sz="2000" i="0" u="none" strike="noStrike" baseline="0" dirty="0">
              <a:latin typeface="+mj-lt"/>
            </a:endParaRP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i="0" u="none" strike="noStrike" baseline="0" dirty="0">
                <a:latin typeface="+mj-lt"/>
              </a:rPr>
              <a:t>Fruit and vegetables provide us with vitamins, minerals and fibre.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b="0" i="0" dirty="0">
                <a:effectLst/>
                <a:latin typeface="+mj-lt"/>
              </a:rPr>
              <a:t>Fruit and vegetables tend to have a low environmental impact.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latin typeface="+mj-lt"/>
              </a:rPr>
              <a:t>Canned and frozen fruit and vegetables can be an affordable alternative to fresh and help to prevent food waste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C60AF4-7412-DDF7-5C54-9BA9B8FE95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6756" y="1884485"/>
            <a:ext cx="4511081" cy="3802729"/>
          </a:xfrm>
          <a:prstGeom prst="rect">
            <a:avLst/>
          </a:prstGeom>
        </p:spPr>
      </p:pic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9CCC0D67-03CB-826C-A1B5-4A78EDC206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41416" y="29602"/>
            <a:ext cx="1801368" cy="180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348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248C52F-7324-B9B1-F206-88E5D0A05A8D}"/>
              </a:ext>
            </a:extLst>
          </p:cNvPr>
          <p:cNvSpPr txBox="1">
            <a:spLocks/>
          </p:cNvSpPr>
          <p:nvPr/>
        </p:nvSpPr>
        <p:spPr>
          <a:xfrm>
            <a:off x="801103" y="2581479"/>
            <a:ext cx="10589793" cy="120728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GB"/>
              <a:t>How many portions of fruit and vegetables </a:t>
            </a:r>
          </a:p>
          <a:p>
            <a:pPr algn="ctr"/>
            <a:r>
              <a:rPr lang="en-GB"/>
              <a:t>do you eat each day?</a:t>
            </a:r>
          </a:p>
        </p:txBody>
      </p:sp>
      <p:pic>
        <p:nvPicPr>
          <p:cNvPr id="2" name="Picture 1" descr="Diagram&#10;&#10;Description automatically generated">
            <a:extLst>
              <a:ext uri="{FF2B5EF4-FFF2-40B4-BE49-F238E27FC236}">
                <a16:creationId xmlns:a16="http://schemas.microsoft.com/office/drawing/2014/main" id="{17227D6A-80EB-FEE3-E205-7042027B5F0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638" y="220102"/>
            <a:ext cx="1390445" cy="1392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89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946B8-7332-189C-DD69-FB2121F365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sider the pennies</a:t>
            </a:r>
          </a:p>
        </p:txBody>
      </p:sp>
      <p:pic>
        <p:nvPicPr>
          <p:cNvPr id="4" name="Picture 3" descr="A close up of a carrot&#10;&#10;Description automatically generated with low confidence">
            <a:extLst>
              <a:ext uri="{FF2B5EF4-FFF2-40B4-BE49-F238E27FC236}">
                <a16:creationId xmlns:a16="http://schemas.microsoft.com/office/drawing/2014/main" id="{C2B61416-315A-736F-AD83-D2E79AD177E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879" y="3047118"/>
            <a:ext cx="3048000" cy="135940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EDB48C4-D950-826C-9E66-BA8F2B108C7C}"/>
              </a:ext>
            </a:extLst>
          </p:cNvPr>
          <p:cNvSpPr txBox="1"/>
          <p:nvPr/>
        </p:nvSpPr>
        <p:spPr>
          <a:xfrm>
            <a:off x="927100" y="1714500"/>
            <a:ext cx="9156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ow could you eat more fruit and vegetables in an affordable way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49B8-B104-0C58-E8A6-1DF6942D1191}"/>
              </a:ext>
            </a:extLst>
          </p:cNvPr>
          <p:cNvSpPr txBox="1"/>
          <p:nvPr/>
        </p:nvSpPr>
        <p:spPr>
          <a:xfrm>
            <a:off x="431800" y="4977746"/>
            <a:ext cx="4660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/>
              <a:t>Loose fruit and vegetables can be more affordable and prevent food waste – you only buy what you need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99C600-EBF3-AAD1-D921-012167A1D4A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9730" y="2541679"/>
            <a:ext cx="1497907" cy="22392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D723009-A58A-2BB0-201E-6B075D0BFD3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6384" y="2788586"/>
            <a:ext cx="2146737" cy="19922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BB59FBD-5774-1637-0901-BA96C4E066D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2650" y="2995200"/>
            <a:ext cx="2411958" cy="157906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7265341-54B7-DA03-D70F-74DB499A89CB}"/>
              </a:ext>
            </a:extLst>
          </p:cNvPr>
          <p:cNvSpPr txBox="1"/>
          <p:nvPr/>
        </p:nvSpPr>
        <p:spPr>
          <a:xfrm>
            <a:off x="6928802" y="5015141"/>
            <a:ext cx="5041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/>
              <a:t>Frozen or canned fruit and vegetables can be more affordable than fresh.</a:t>
            </a:r>
          </a:p>
        </p:txBody>
      </p:sp>
      <p:pic>
        <p:nvPicPr>
          <p:cNvPr id="12" name="Picture 11" descr="A head of broccoli with leaves&#10;&#10;Description automatically generated with medium confidence">
            <a:extLst>
              <a:ext uri="{FF2B5EF4-FFF2-40B4-BE49-F238E27FC236}">
                <a16:creationId xmlns:a16="http://schemas.microsoft.com/office/drawing/2014/main" id="{8BA1422C-C73B-6C67-C348-C75AFD32D9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19488" y="2929592"/>
            <a:ext cx="2272438" cy="158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759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D13031-2B77-299C-75DA-48BE22430A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0" i="0">
                <a:solidFill>
                  <a:srgbClr val="263143"/>
                </a:solidFill>
                <a:effectLst/>
              </a:rPr>
              <a:t>Vary your protein - be more creativ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CA156-7578-1546-B705-66A9B57A69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solidFill>
                  <a:srgbClr val="000000"/>
                </a:solidFill>
                <a:latin typeface="+mj-lt"/>
              </a:rPr>
              <a:t>Eat a wider variety of protein foods and choose plant-based protein more often.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rgbClr val="000000"/>
                </a:solidFill>
                <a:latin typeface="+mj-lt"/>
              </a:rPr>
              <a:t>P</a:t>
            </a:r>
            <a:r>
              <a:rPr lang="en-GB" sz="2200" i="0" u="none" strike="noStrike" baseline="0" dirty="0">
                <a:solidFill>
                  <a:srgbClr val="000000"/>
                </a:solidFill>
                <a:latin typeface="+mj-lt"/>
              </a:rPr>
              <a:t>lant-based proteins can include pulses (peas, beans, lentils), nuts and seeds.</a:t>
            </a:r>
            <a:endParaRPr lang="en-GB" sz="2200" i="0" u="none" strike="noStrike" baseline="0" dirty="0">
              <a:latin typeface="+mj-lt"/>
            </a:endParaRP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Plant-based proteins can provide fibre, vitamins and minerals. 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dirty="0">
                <a:latin typeface="+mj-lt"/>
              </a:rPr>
              <a:t>G</a:t>
            </a:r>
            <a:r>
              <a:rPr lang="en-GB" sz="2200" i="0" u="none" strike="noStrike" baseline="0" dirty="0">
                <a:latin typeface="+mj-lt"/>
              </a:rPr>
              <a:t>rowing pulses can help the planet by improving soil health and reducing the need for fertilisers.</a:t>
            </a:r>
            <a:endParaRPr lang="en-GB" sz="2200" dirty="0">
              <a:latin typeface="+mj-lt"/>
            </a:endParaRPr>
          </a:p>
          <a:p>
            <a:pPr marL="296863" indent="-285750">
              <a:buFont typeface="Arial" panose="020B0604020202020204" pitchFamily="34" charset="0"/>
              <a:buChar char="•"/>
            </a:pPr>
            <a:endParaRPr lang="en-GB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4172CF-579F-9AFC-21E0-FA60B6CCDF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1719" y="1832851"/>
            <a:ext cx="4582424" cy="3862869"/>
          </a:xfrm>
          <a:prstGeom prst="rect">
            <a:avLst/>
          </a:prstGeom>
        </p:spPr>
      </p:pic>
      <p:pic>
        <p:nvPicPr>
          <p:cNvPr id="9" name="Picture 8" descr="A picture containing diagram&#10;&#10;Description automatically generated">
            <a:extLst>
              <a:ext uri="{FF2B5EF4-FFF2-40B4-BE49-F238E27FC236}">
                <a16:creationId xmlns:a16="http://schemas.microsoft.com/office/drawing/2014/main" id="{C7CF18CB-B021-9545-1936-1EC471CF1CD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9445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E1F73EA-365E-190B-1048-73E43DD3084E}"/>
              </a:ext>
            </a:extLst>
          </p:cNvPr>
          <p:cNvSpPr txBox="1">
            <a:spLocks/>
          </p:cNvSpPr>
          <p:nvPr/>
        </p:nvSpPr>
        <p:spPr>
          <a:xfrm>
            <a:off x="661778" y="2081748"/>
            <a:ext cx="10868443" cy="120728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GB" dirty="0"/>
              <a:t>Have you ever tried pulses like beans or lentils?</a:t>
            </a:r>
          </a:p>
        </p:txBody>
      </p:sp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E3CD27FE-ABE8-718B-545B-0E7D66CEA24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2826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FAFCF-797B-FA6C-9115-5569E8A202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ere are some examples of plant protei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41EDAB-B02D-F30B-069B-EB2EB123AA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1339" y="4162146"/>
            <a:ext cx="2615557" cy="22048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D246A6-98D2-052E-0566-A7E90795A8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6129" y="1650438"/>
            <a:ext cx="2615557" cy="22048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8E6FEF-9023-9459-12AA-7BE5917133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339" y="1650439"/>
            <a:ext cx="2615558" cy="2204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FF1F125-BC35-54B6-6B3A-750E4BCE85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6548" y="4162146"/>
            <a:ext cx="2615557" cy="2204849"/>
          </a:xfrm>
          <a:prstGeom prst="rect">
            <a:avLst/>
          </a:prstGeom>
        </p:spPr>
      </p:pic>
      <p:pic>
        <p:nvPicPr>
          <p:cNvPr id="10" name="Picture 9" descr="A picture containing diagram&#10;&#10;Description automatically generated">
            <a:extLst>
              <a:ext uri="{FF2B5EF4-FFF2-40B4-BE49-F238E27FC236}">
                <a16:creationId xmlns:a16="http://schemas.microsoft.com/office/drawing/2014/main" id="{D86D538C-D2C0-B8C5-0964-33B3CC917B9D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3"/>
            <a:ext cx="1311711" cy="13117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D45110-D3D5-D6CE-CA0C-E23AB49A45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16548" y="1650437"/>
            <a:ext cx="2615557" cy="220484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6E1D0A2-86F1-D3FB-5FE3-47AC3CA9EF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06129" y="4162146"/>
            <a:ext cx="2615557" cy="220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459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38172-7789-E3ED-E8E2-CEBC42EC1E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sider the penn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38ABD7-5CEC-5596-C211-062EF2819B6D}"/>
              </a:ext>
            </a:extLst>
          </p:cNvPr>
          <p:cNvSpPr txBox="1"/>
          <p:nvPr/>
        </p:nvSpPr>
        <p:spPr>
          <a:xfrm>
            <a:off x="927100" y="1714500"/>
            <a:ext cx="9156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ow could you vary your protein in a more affordable way?</a:t>
            </a:r>
          </a:p>
        </p:txBody>
      </p:sp>
      <p:pic>
        <p:nvPicPr>
          <p:cNvPr id="5" name="Picture 4" descr="A close-up of a helmet&#10;&#10;Description automatically generated with low confidence">
            <a:extLst>
              <a:ext uri="{FF2B5EF4-FFF2-40B4-BE49-F238E27FC236}">
                <a16:creationId xmlns:a16="http://schemas.microsoft.com/office/drawing/2014/main" id="{8CEAF87E-016B-DB9C-A39A-62AA3735696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8491" y="2549755"/>
            <a:ext cx="2902031" cy="27051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132D9EB-9625-BD02-2683-3896F0781264}"/>
              </a:ext>
            </a:extLst>
          </p:cNvPr>
          <p:cNvSpPr txBox="1"/>
          <p:nvPr/>
        </p:nvSpPr>
        <p:spPr>
          <a:xfrm>
            <a:off x="231775" y="5360600"/>
            <a:ext cx="610235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e canned or frozen fish instead of fresh. Remember to choose sustainable varieties and canned fish in spring water rather than oil.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E757EBC-8724-452E-122D-8D15E0B676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4459" y="2640042"/>
            <a:ext cx="3829050" cy="233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162095C-A4DE-597F-2AB2-A576487BFAB4}"/>
              </a:ext>
            </a:extLst>
          </p:cNvPr>
          <p:cNvSpPr txBox="1"/>
          <p:nvPr/>
        </p:nvSpPr>
        <p:spPr>
          <a:xfrm>
            <a:off x="6944459" y="5360600"/>
            <a:ext cx="3619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/>
              <a:t>Add beans and pulses to meat recipes to make them go further.</a:t>
            </a:r>
          </a:p>
        </p:txBody>
      </p:sp>
    </p:spTree>
    <p:extLst>
      <p:ext uri="{BB962C8B-B14F-4D97-AF65-F5344CB8AC3E}">
        <p14:creationId xmlns:p14="http://schemas.microsoft.com/office/powerpoint/2010/main" val="975181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C40EC-55A5-1E17-8498-FE9CA7DD96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0" i="0">
                <a:solidFill>
                  <a:srgbClr val="263143"/>
                </a:solidFill>
                <a:effectLst/>
              </a:rPr>
              <a:t>Stay hydrated - fill up from the tap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B6529B-8A69-FE97-054F-7EB05EF501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Have about 6-8 drinks a day (</a:t>
            </a:r>
            <a:r>
              <a:rPr lang="en-GB" sz="2200" dirty="0">
                <a:effectLst/>
                <a:latin typeface="+mj-lt"/>
              </a:rPr>
              <a:t>about 1.2 litres)</a:t>
            </a:r>
            <a:r>
              <a:rPr lang="en-GB" sz="2200" i="0" u="none" strike="noStrike" baseline="0" dirty="0">
                <a:latin typeface="+mj-lt"/>
              </a:rPr>
              <a:t> and choose reusable or recyclable drinks containers.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Drinking plenty can stop us from becoming dehydrated, </a:t>
            </a:r>
            <a:r>
              <a:rPr lang="en-GB" sz="2200" dirty="0">
                <a:effectLst/>
                <a:latin typeface="+mj-lt"/>
              </a:rPr>
              <a:t>especially if we are more active and during hot weather</a:t>
            </a:r>
            <a:r>
              <a:rPr lang="en-GB" sz="2200" i="0" u="none" strike="noStrike" baseline="0" dirty="0">
                <a:latin typeface="+mj-lt"/>
              </a:rPr>
              <a:t>.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Using reusable drinks containers can </a:t>
            </a:r>
            <a:r>
              <a:rPr lang="en-GB" sz="2200" i="0" u="none" strike="noStrike" baseline="0" dirty="0" err="1">
                <a:latin typeface="+mj-lt"/>
              </a:rPr>
              <a:t>can</a:t>
            </a:r>
            <a:r>
              <a:rPr lang="en-GB" sz="2200" i="0" u="none" strike="noStrike" baseline="0" dirty="0">
                <a:latin typeface="+mj-lt"/>
              </a:rPr>
              <a:t> save us money and reduce single-use packaging.</a:t>
            </a:r>
            <a:endParaRPr lang="en-GB" sz="2200" dirty="0">
              <a:latin typeface="+mj-lt"/>
            </a:endParaRPr>
          </a:p>
          <a:p>
            <a:pPr marL="296863" indent="-285750">
              <a:buFont typeface="Arial" panose="020B0604020202020204" pitchFamily="34" charset="0"/>
              <a:buChar char="•"/>
            </a:pPr>
            <a:endParaRPr lang="en-GB" sz="22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BA5470-B29B-68C2-FC22-81805A4FC6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560" y="1935068"/>
            <a:ext cx="4081850" cy="3440898"/>
          </a:xfrm>
          <a:prstGeom prst="rect">
            <a:avLst/>
          </a:prstGeom>
        </p:spPr>
      </p:pic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4B57CBF7-54B0-55B5-954C-796383B92A1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2"/>
            <a:ext cx="1311711" cy="1311711"/>
          </a:xfrm>
          <a:prstGeom prst="rect">
            <a:avLst/>
          </a:prstGeom>
        </p:spPr>
      </p:pic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9948643-343F-6973-FE4C-9368847ED7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9586" y="4264822"/>
            <a:ext cx="776414" cy="1812882"/>
          </a:xfrm>
          <a:prstGeom prst="rect">
            <a:avLst/>
          </a:prstGeom>
        </p:spPr>
      </p:pic>
      <p:pic>
        <p:nvPicPr>
          <p:cNvPr id="9" name="Picture 8" descr="A picture containing tableware, bottle&#10;&#10;Description automatically generated">
            <a:extLst>
              <a:ext uri="{FF2B5EF4-FFF2-40B4-BE49-F238E27FC236}">
                <a16:creationId xmlns:a16="http://schemas.microsoft.com/office/drawing/2014/main" id="{9727130D-E0CC-84BA-512C-3D4B12A461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5496" y="4432977"/>
            <a:ext cx="964149" cy="1721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443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person, food, indoor&#10;&#10;Description automatically generated">
            <a:extLst>
              <a:ext uri="{FF2B5EF4-FFF2-40B4-BE49-F238E27FC236}">
                <a16:creationId xmlns:a16="http://schemas.microsoft.com/office/drawing/2014/main" id="{29956A97-99F2-7ED0-7A8A-ED211A98770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17219" y="1834018"/>
            <a:ext cx="3552103" cy="328590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92DAF1-7F4B-5064-B111-75F17C3853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What’s it all about?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73D8A7-B8E2-EA1D-4ECE-3A7CD218FF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261" y="1834018"/>
            <a:ext cx="5871986" cy="4320598"/>
          </a:xfrm>
        </p:spPr>
        <p:txBody>
          <a:bodyPr>
            <a:noAutofit/>
          </a:bodyPr>
          <a:lstStyle/>
          <a:p>
            <a:pPr marL="468313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b="0" i="0" dirty="0">
                <a:effectLst/>
                <a:latin typeface="+mj-lt"/>
              </a:rPr>
              <a:t>The British Nutrition Foundation’s Healthy Eating Week is taking place from 12-16 June 2023.</a:t>
            </a:r>
          </a:p>
          <a:p>
            <a:pPr marL="468313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</a:rPr>
              <a:t>The Week highlights what you can do to have a healthier and more sustainable diet and lifestyle, in an affordable way.</a:t>
            </a:r>
            <a:endParaRPr lang="en-GB" sz="2400" b="0" i="0" dirty="0"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618112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785A9D1-BB71-73E2-F58D-688A28935446}"/>
              </a:ext>
            </a:extLst>
          </p:cNvPr>
          <p:cNvSpPr txBox="1">
            <a:spLocks/>
          </p:cNvSpPr>
          <p:nvPr/>
        </p:nvSpPr>
        <p:spPr>
          <a:xfrm>
            <a:off x="801103" y="2852941"/>
            <a:ext cx="10589793" cy="84752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GB"/>
              <a:t>Do you have 6-8 drinks each day?</a:t>
            </a:r>
          </a:p>
        </p:txBody>
      </p:sp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4C9F8AE6-0FEA-047B-CF57-EB2CFAB47E9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2"/>
            <a:ext cx="1311711" cy="131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77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39744-047A-3E69-2FBD-92F6E5A5D1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1103" y="737663"/>
            <a:ext cx="10589793" cy="691661"/>
          </a:xfrm>
        </p:spPr>
        <p:txBody>
          <a:bodyPr>
            <a:normAutofit fontScale="90000"/>
          </a:bodyPr>
          <a:lstStyle/>
          <a:p>
            <a:r>
              <a:rPr lang="en-GB" dirty="0"/>
              <a:t>Here are some examples of drinks that </a:t>
            </a:r>
            <a:br>
              <a:rPr lang="en-GB" dirty="0"/>
            </a:br>
            <a:r>
              <a:rPr lang="en-GB" dirty="0"/>
              <a:t>count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B57C2C-4711-BC57-0CBD-6CE654B57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3271" y="4161810"/>
            <a:ext cx="2583543" cy="217786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3887E8-B69F-F32C-2EDA-9442DADE47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3272" y="1694518"/>
            <a:ext cx="2583544" cy="21778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4DDA49C-F6AF-09AD-A5E3-268D8950B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7475" y="1692426"/>
            <a:ext cx="2583545" cy="21778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C9F279-603A-06B8-905C-A0960A6E16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1686" y="1692426"/>
            <a:ext cx="2583544" cy="217786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2551AB0-69C5-5288-0151-AF58308C207B}"/>
              </a:ext>
            </a:extLst>
          </p:cNvPr>
          <p:cNvSpPr txBox="1"/>
          <p:nvPr/>
        </p:nvSpPr>
        <p:spPr>
          <a:xfrm>
            <a:off x="10365077" y="2105544"/>
            <a:ext cx="15779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/>
              <a:t>Remember to choose unsweetened milk alternatives, such as soya drinks, that are fortified with calcium and preferably other vitamins and minerals.</a:t>
            </a: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812B43D4-6640-F01D-ACC2-2AB1B8A0FAB9}"/>
              </a:ext>
            </a:extLst>
          </p:cNvPr>
          <p:cNvSpPr/>
          <p:nvPr/>
        </p:nvSpPr>
        <p:spPr>
          <a:xfrm>
            <a:off x="10365075" y="2087071"/>
            <a:ext cx="1566886" cy="2167158"/>
          </a:xfrm>
          <a:prstGeom prst="wedgeRoundRectCallout">
            <a:avLst>
              <a:gd name="adj1" fmla="val -41490"/>
              <a:gd name="adj2" fmla="val 59861"/>
              <a:gd name="adj3" fmla="val 16667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logo&#10;&#10;Description automatically generated">
            <a:extLst>
              <a:ext uri="{FF2B5EF4-FFF2-40B4-BE49-F238E27FC236}">
                <a16:creationId xmlns:a16="http://schemas.microsoft.com/office/drawing/2014/main" id="{0A0EF1BE-1F91-BFB9-B0B0-10DF1B71F54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5" y="190222"/>
            <a:ext cx="1311711" cy="1311711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646E631-80A0-10F9-DE7F-6B63D4B573A7}"/>
              </a:ext>
            </a:extLst>
          </p:cNvPr>
          <p:cNvGrpSpPr/>
          <p:nvPr/>
        </p:nvGrpSpPr>
        <p:grpSpPr>
          <a:xfrm>
            <a:off x="4587477" y="4161809"/>
            <a:ext cx="2583543" cy="2177863"/>
            <a:chOff x="4587477" y="4161810"/>
            <a:chExt cx="2583543" cy="217786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5E92BBF-2567-9F0D-2070-4ED9845E99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87477" y="4161810"/>
              <a:ext cx="2583543" cy="2177863"/>
            </a:xfrm>
            <a:prstGeom prst="rect">
              <a:avLst/>
            </a:prstGeom>
          </p:spPr>
        </p:pic>
        <p:pic>
          <p:nvPicPr>
            <p:cNvPr id="10" name="Picture 9" descr="A glass of beer&#10;&#10;Description automatically generated with medium confidence">
              <a:extLst>
                <a:ext uri="{FF2B5EF4-FFF2-40B4-BE49-F238E27FC236}">
                  <a16:creationId xmlns:a16="http://schemas.microsoft.com/office/drawing/2014/main" id="{603E3ECC-ADE7-BA10-9350-AA8805BC17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39544" y="4254230"/>
              <a:ext cx="1679405" cy="199302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87E825E-3EE0-852C-19F2-612C64A27D1D}"/>
              </a:ext>
            </a:extLst>
          </p:cNvPr>
          <p:cNvGrpSpPr/>
          <p:nvPr/>
        </p:nvGrpSpPr>
        <p:grpSpPr>
          <a:xfrm>
            <a:off x="7681687" y="4167671"/>
            <a:ext cx="2583544" cy="2177863"/>
            <a:chOff x="7681687" y="4167671"/>
            <a:chExt cx="2583544" cy="217786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A5F1BC4-B4A5-A029-5C07-238AA5D1E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681687" y="4167671"/>
              <a:ext cx="2583544" cy="2177863"/>
            </a:xfrm>
            <a:prstGeom prst="rect">
              <a:avLst/>
            </a:prstGeom>
          </p:spPr>
        </p:pic>
        <p:pic>
          <p:nvPicPr>
            <p:cNvPr id="17" name="Picture 16" descr="A picture containing cup, table, glass, indoor&#10;&#10;Description automatically generated">
              <a:extLst>
                <a:ext uri="{FF2B5EF4-FFF2-40B4-BE49-F238E27FC236}">
                  <a16:creationId xmlns:a16="http://schemas.microsoft.com/office/drawing/2014/main" id="{255BEBBF-B616-B232-2971-700A97F91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4094" y="4381143"/>
              <a:ext cx="2198728" cy="17391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84245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38172-7789-E3ED-E8E2-CEBC42EC1E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sider the penn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38ABD7-5CEC-5596-C211-062EF2819B6D}"/>
              </a:ext>
            </a:extLst>
          </p:cNvPr>
          <p:cNvSpPr txBox="1"/>
          <p:nvPr/>
        </p:nvSpPr>
        <p:spPr>
          <a:xfrm>
            <a:off x="927100" y="1714500"/>
            <a:ext cx="9156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ow could you stay hydrated in a more affordable way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818D4A-882E-0E3A-2D64-EB568E11F4D0}"/>
              </a:ext>
            </a:extLst>
          </p:cNvPr>
          <p:cNvSpPr txBox="1"/>
          <p:nvPr/>
        </p:nvSpPr>
        <p:spPr>
          <a:xfrm>
            <a:off x="427998" y="4281296"/>
            <a:ext cx="42612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/>
              <a:t>Use a reusable water bottle and fill up from the tap rather than buying bottles of water or make a hot drink at home and take it with you.</a:t>
            </a:r>
          </a:p>
        </p:txBody>
      </p:sp>
      <p:pic>
        <p:nvPicPr>
          <p:cNvPr id="9" name="Picture 8" descr="A blue plastic bottle&#10;&#10;Description automatically generated with low confidence">
            <a:extLst>
              <a:ext uri="{FF2B5EF4-FFF2-40B4-BE49-F238E27FC236}">
                <a16:creationId xmlns:a16="http://schemas.microsoft.com/office/drawing/2014/main" id="{5FA4D661-021F-9C54-59BC-59B57A32064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00" y="2168550"/>
            <a:ext cx="2721820" cy="21931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548A47-6C89-147D-10A2-4210634442D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788" y="2089945"/>
            <a:ext cx="1644845" cy="2193127"/>
          </a:xfrm>
          <a:prstGeom prst="rect">
            <a:avLst/>
          </a:prstGeom>
        </p:spPr>
      </p:pic>
      <p:pic>
        <p:nvPicPr>
          <p:cNvPr id="13" name="Picture 12" descr="A picture containing indoor, kitchen appliance, food processor&#10;&#10;Description automatically generated">
            <a:extLst>
              <a:ext uri="{FF2B5EF4-FFF2-40B4-BE49-F238E27FC236}">
                <a16:creationId xmlns:a16="http://schemas.microsoft.com/office/drawing/2014/main" id="{A4B660D0-C8BD-40C3-5393-6C22ABAEC71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7857" y="2004010"/>
            <a:ext cx="3290383" cy="219312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969AC89-7563-EE58-21C6-B016C026B16A}"/>
              </a:ext>
            </a:extLst>
          </p:cNvPr>
          <p:cNvSpPr txBox="1"/>
          <p:nvPr/>
        </p:nvSpPr>
        <p:spPr>
          <a:xfrm>
            <a:off x="4689242" y="4340841"/>
            <a:ext cx="3479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dirty="0"/>
              <a:t>Freeze leftover fresh herbs in an ice cube tray and add to tap water for more flavour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C05D3AE-386A-EAD5-B5E3-BFBEC1C5C9D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6895" y="2267467"/>
            <a:ext cx="4261244" cy="209421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C13F20E-62A6-350E-CF33-B0E67B949079}"/>
              </a:ext>
            </a:extLst>
          </p:cNvPr>
          <p:cNvSpPr txBox="1"/>
          <p:nvPr/>
        </p:nvSpPr>
        <p:spPr>
          <a:xfrm>
            <a:off x="8296610" y="4361677"/>
            <a:ext cx="384152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effectLst/>
                <a:latin typeface="Arial" panose="020B0604020202020204" pitchFamily="34" charset="0"/>
                <a:ea typeface="Yu Gothic Light" panose="020B0300000000000000" pitchFamily="34" charset="-128"/>
              </a:rPr>
              <a:t>Make fresh fruit lollies with fruit that has begun to go soft. Mash with a fork and dilute with a little water or semi-skimmed milk and freeze in reusable lolly moulds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956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4" grpId="0"/>
      <p:bldP spid="17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">
            <a:extLst>
              <a:ext uri="{FF2B5EF4-FFF2-40B4-BE49-F238E27FC236}">
                <a16:creationId xmlns:a16="http://schemas.microsoft.com/office/drawing/2014/main" id="{893F8E98-7B4F-DE93-E084-1EBEE916E0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8892" y="703384"/>
            <a:ext cx="10433208" cy="691661"/>
          </a:xfrm>
        </p:spPr>
        <p:txBody>
          <a:bodyPr/>
          <a:lstStyle/>
          <a:p>
            <a:r>
              <a:rPr lang="en-GB" b="0" i="0" dirty="0">
                <a:solidFill>
                  <a:srgbClr val="263143"/>
                </a:solidFill>
                <a:effectLst/>
              </a:rPr>
              <a:t>Reduce food waste – be food wise</a:t>
            </a:r>
            <a:endParaRPr lang="en-US" dirty="0"/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157E4EE1-D3EF-100C-BE7A-A3AC2B1019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8891" y="1834017"/>
            <a:ext cx="5910886" cy="4500681"/>
          </a:xfrm>
        </p:spPr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Aim for the right amount when you shop, cook and eat to avoid throwing food away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dirty="0">
                <a:latin typeface="+mj-lt"/>
              </a:rPr>
              <a:t>Be creative with leftovers</a:t>
            </a:r>
            <a:r>
              <a:rPr lang="en-GB" sz="2200" i="0" u="none" strike="noStrike" baseline="0" dirty="0">
                <a:latin typeface="+mj-lt"/>
              </a:rPr>
              <a:t>.	</a:t>
            </a:r>
            <a:endParaRPr lang="en-GB" sz="2200" dirty="0">
              <a:latin typeface="+mj-lt"/>
            </a:endParaRP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Reducing food waste is good for our pocket and the planet:</a:t>
            </a:r>
          </a:p>
          <a:p>
            <a:pPr marL="1143000" lvl="1" indent="-457200">
              <a:buClr>
                <a:schemeClr val="accent1"/>
              </a:buClr>
            </a:pPr>
            <a:r>
              <a:rPr lang="en-GB" sz="2200" b="0" i="0" u="none" strike="noStrike" dirty="0">
                <a:solidFill>
                  <a:srgbClr val="000000"/>
                </a:solidFill>
                <a:effectLst/>
                <a:latin typeface="+mj-lt"/>
              </a:rPr>
              <a:t>Food waste costs the average UK household (with children) </a:t>
            </a:r>
            <a:r>
              <a:rPr lang="en-GB" sz="2200" b="1" i="0" u="none" strike="noStrike" dirty="0">
                <a:solidFill>
                  <a:schemeClr val="accent1"/>
                </a:solidFill>
                <a:effectLst/>
                <a:latin typeface="+mj-lt"/>
              </a:rPr>
              <a:t>£60 per month.</a:t>
            </a:r>
          </a:p>
          <a:p>
            <a:pPr marL="1143000" lvl="1" indent="-457200">
              <a:buClr>
                <a:schemeClr val="accent1"/>
              </a:buClr>
            </a:pPr>
            <a:r>
              <a:rPr lang="en-GB" sz="2200" dirty="0">
                <a:latin typeface="+mj-lt"/>
              </a:rPr>
              <a:t>F</a:t>
            </a:r>
            <a:r>
              <a:rPr lang="en-GB" sz="2200" b="0" i="0" dirty="0">
                <a:effectLst/>
                <a:latin typeface="+mj-lt"/>
              </a:rPr>
              <a:t>ood waste contributes to 8-10% of greenhouse gas emissions.</a:t>
            </a:r>
            <a:endParaRPr lang="en-GB" sz="2200" dirty="0">
              <a:latin typeface="+mj-lt"/>
            </a:endParaRPr>
          </a:p>
          <a:p>
            <a:endParaRPr lang="en-US" sz="2200" dirty="0"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B047FD-C07B-8900-391E-C35A43B38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7754" y="2017314"/>
            <a:ext cx="3840817" cy="3237713"/>
          </a:xfrm>
          <a:prstGeom prst="rect">
            <a:avLst/>
          </a:prstGeom>
        </p:spPr>
      </p:pic>
      <p:pic>
        <p:nvPicPr>
          <p:cNvPr id="3" name="Picture 2" descr="Diagram&#10;&#10;Description automatically generated with low confidence">
            <a:extLst>
              <a:ext uri="{FF2B5EF4-FFF2-40B4-BE49-F238E27FC236}">
                <a16:creationId xmlns:a16="http://schemas.microsoft.com/office/drawing/2014/main" id="{FA878275-59E0-8AF2-DA70-58C4C96F34F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4811" y="147006"/>
            <a:ext cx="1455967" cy="145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8901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C6B65FA-BDF9-DB29-097E-52E32C3088BA}"/>
              </a:ext>
            </a:extLst>
          </p:cNvPr>
          <p:cNvSpPr txBox="1">
            <a:spLocks/>
          </p:cNvSpPr>
          <p:nvPr/>
        </p:nvSpPr>
        <p:spPr>
          <a:xfrm>
            <a:off x="414573" y="2221715"/>
            <a:ext cx="11254972" cy="120728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Do you and your family use up leftovers?</a:t>
            </a:r>
          </a:p>
        </p:txBody>
      </p:sp>
      <p:pic>
        <p:nvPicPr>
          <p:cNvPr id="4" name="Picture 3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99BC03D1-1C4F-314D-789E-2FDBB0DB803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4" y="188004"/>
            <a:ext cx="1311711" cy="131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7352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577B7-A5A9-778F-FA6B-41888CE663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Here are some ways to reduce food was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907CEA-4D16-FE7C-B769-5D4836404D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3342" y="1673598"/>
            <a:ext cx="2610507" cy="22005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CE94558-BB3F-5C96-EED1-83DEE18F2B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3343" y="4101582"/>
            <a:ext cx="2610505" cy="220059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84207D6-96AF-5804-CBB6-C63F484130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7172" y="1673599"/>
            <a:ext cx="2610505" cy="22005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C1AB9E-055B-6208-9058-10FF11131A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8745" y="4101581"/>
            <a:ext cx="2610507" cy="22005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94FFA9F-47E7-686F-43CF-EF2730D3EF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77172" y="4101582"/>
            <a:ext cx="2610505" cy="22005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71E103B-4A85-30AB-7A8C-18CEEC4C5E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28398" y="1648017"/>
            <a:ext cx="2671200" cy="2251755"/>
          </a:xfrm>
          <a:prstGeom prst="rect">
            <a:avLst/>
          </a:prstGeom>
        </p:spPr>
      </p:pic>
      <p:pic>
        <p:nvPicPr>
          <p:cNvPr id="3" name="Picture 2" descr="Diagram&#10;&#10;Description automatically generated with low confidence">
            <a:extLst>
              <a:ext uri="{FF2B5EF4-FFF2-40B4-BE49-F238E27FC236}">
                <a16:creationId xmlns:a16="http://schemas.microsoft.com/office/drawing/2014/main" id="{01293453-DFDB-96D4-B394-D28D36E4CD9E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4811" y="147006"/>
            <a:ext cx="1455967" cy="1455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93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52B3C2-8001-716C-3790-AFAC46D529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sider the penn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F514FB-AEC6-447E-3CDD-BF69E756B7E6}"/>
              </a:ext>
            </a:extLst>
          </p:cNvPr>
          <p:cNvSpPr txBox="1"/>
          <p:nvPr/>
        </p:nvSpPr>
        <p:spPr>
          <a:xfrm>
            <a:off x="927100" y="1714500"/>
            <a:ext cx="9156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How could you prevent food waste and save money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079B23-B3C2-1DC4-B6FA-B8ED2169CAC0}"/>
              </a:ext>
            </a:extLst>
          </p:cNvPr>
          <p:cNvSpPr txBox="1"/>
          <p:nvPr/>
        </p:nvSpPr>
        <p:spPr>
          <a:xfrm>
            <a:off x="352425" y="4954287"/>
            <a:ext cx="515302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en-GB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ktiv Grotesk"/>
              </a:rPr>
              <a:t>If you buy more food than is needed, freeze for another time. Did you know that butter, cheese, milk, coconut milk, chilli and herbs can all be frozen?</a:t>
            </a:r>
            <a:endParaRPr lang="en-GB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ktiv Grotesk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341F82-7C87-1C66-6C73-FD6F4A3626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970" y="2600845"/>
            <a:ext cx="1209824" cy="1891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pile of yellow pasta&#10;&#10;Description automatically generated with low confidence">
            <a:extLst>
              <a:ext uri="{FF2B5EF4-FFF2-40B4-BE49-F238E27FC236}">
                <a16:creationId xmlns:a16="http://schemas.microsoft.com/office/drawing/2014/main" id="{4956A11E-6198-262C-1691-E71AEC2F3B3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7374" y="2687256"/>
            <a:ext cx="2023913" cy="20239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9F5132-A414-6FD8-D85D-64AE32F052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9795" y="2958979"/>
            <a:ext cx="1552683" cy="148046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9477DF4-6931-E9EF-12F0-41CCA90BB61A}"/>
              </a:ext>
            </a:extLst>
          </p:cNvPr>
          <p:cNvSpPr txBox="1"/>
          <p:nvPr/>
        </p:nvSpPr>
        <p:spPr>
          <a:xfrm>
            <a:off x="6089650" y="5044760"/>
            <a:ext cx="61023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2021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c</a:t>
            </a:r>
            <a:r>
              <a:rPr lang="en-GB" b="0" i="0" dirty="0">
                <a:solidFill>
                  <a:srgbClr val="2021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ned foods, which have an very long shelf life – up to three years which helps to reduce food waste at home. 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A picture containing vegetable&#10;&#10;Description automatically generated">
            <a:extLst>
              <a:ext uri="{FF2B5EF4-FFF2-40B4-BE49-F238E27FC236}">
                <a16:creationId xmlns:a16="http://schemas.microsoft.com/office/drawing/2014/main" id="{05E23D52-1F2D-77B7-FFCB-63240149C59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8767" y="2600845"/>
            <a:ext cx="5505448" cy="2305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176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91C189-ADE1-9245-9053-9E690E565D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4610" y="1347155"/>
            <a:ext cx="11722779" cy="1982624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e hope you enjoy Healthy Eating Week 2023!</a:t>
            </a:r>
            <a:br>
              <a:rPr lang="en-GB" sz="3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GB" sz="3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800" dirty="0">
                <a:effectLst/>
                <a:latin typeface="Segoe UI" panose="020B0502040204020203" pitchFamily="34" charset="0"/>
              </a:rPr>
              <a:t>For more information, go to: </a:t>
            </a:r>
            <a:br>
              <a:rPr lang="en-GB" sz="1800" dirty="0">
                <a:effectLst/>
                <a:latin typeface="Segoe UI" panose="020B0502040204020203" pitchFamily="34" charset="0"/>
              </a:rPr>
            </a:br>
            <a:r>
              <a:rPr lang="en-GB" sz="1800" dirty="0">
                <a:effectLst/>
                <a:latin typeface="Segoe UI" panose="020B0502040204020203" pitchFamily="34" charset="0"/>
                <a:hlinkClick r:id="rId2"/>
              </a:rPr>
              <a:t>https://www.nutrition.org.uk/healthy-eating-week-2023/</a:t>
            </a:r>
            <a:r>
              <a:rPr lang="en-GB" sz="1800" dirty="0">
                <a:effectLst/>
                <a:latin typeface="Segoe UI" panose="020B0502040204020203" pitchFamily="34" charset="0"/>
              </a:rPr>
              <a:t> </a:t>
            </a:r>
            <a:br>
              <a:rPr lang="en-GB" sz="1800" dirty="0">
                <a:effectLst/>
                <a:latin typeface="Arial" panose="020B0604020202020204" pitchFamily="34" charset="0"/>
              </a:rPr>
            </a:br>
            <a:r>
              <a:rPr lang="en-GB" sz="1800" dirty="0">
                <a:effectLst/>
                <a:latin typeface="Arial" panose="020B0604020202020204" pitchFamily="34" charset="0"/>
              </a:rPr>
              <a:t> 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13333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7950A7-6E78-8479-19AC-E6DEADCBDD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470" y="703384"/>
            <a:ext cx="10615600" cy="691661"/>
          </a:xfrm>
        </p:spPr>
        <p:txBody>
          <a:bodyPr>
            <a:normAutofit/>
          </a:bodyPr>
          <a:lstStyle/>
          <a:p>
            <a:r>
              <a:rPr lang="en-GB"/>
              <a:t>What is a healthier and more sustainable die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8CC93A-77B7-9746-DCAA-805092D6A9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0484" y="1637118"/>
            <a:ext cx="6997365" cy="452271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96545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Arial"/>
              </a:rPr>
              <a:t>H</a:t>
            </a:r>
            <a:r>
              <a:rPr lang="en-GB" sz="2400" b="0" i="0" dirty="0">
                <a:effectLst/>
                <a:latin typeface="+mj-lt"/>
                <a:cs typeface="Arial"/>
              </a:rPr>
              <a:t>ealthier and more sustainable </a:t>
            </a:r>
            <a:r>
              <a:rPr lang="en-GB" sz="2400" dirty="0">
                <a:latin typeface="+mj-lt"/>
                <a:cs typeface="Arial"/>
              </a:rPr>
              <a:t>diets consider,</a:t>
            </a:r>
            <a:r>
              <a:rPr lang="en-GB" sz="2400" b="0" i="0" dirty="0">
                <a:effectLst/>
                <a:latin typeface="+mj-lt"/>
                <a:cs typeface="Arial"/>
              </a:rPr>
              <a:t> and balance:</a:t>
            </a:r>
            <a:endParaRPr lang="en-US" dirty="0">
              <a:cs typeface="Arial"/>
            </a:endParaRP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H</a:t>
            </a:r>
            <a:r>
              <a:rPr lang="en-GB" b="0" i="0" dirty="0">
                <a:effectLst/>
                <a:latin typeface="+mj-lt"/>
              </a:rPr>
              <a:t>ealth</a:t>
            </a: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N</a:t>
            </a:r>
            <a:r>
              <a:rPr lang="en-GB" b="0" i="0" dirty="0">
                <a:effectLst/>
                <a:latin typeface="+mj-lt"/>
              </a:rPr>
              <a:t>utrition</a:t>
            </a: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E</a:t>
            </a:r>
            <a:r>
              <a:rPr lang="en-GB" b="0" i="0" dirty="0">
                <a:effectLst/>
                <a:latin typeface="+mj-lt"/>
              </a:rPr>
              <a:t>nvironment</a:t>
            </a:r>
          </a:p>
          <a:p>
            <a:pPr marL="1143000" lvl="1" indent="-457200">
              <a:buClr>
                <a:schemeClr val="accent1"/>
              </a:buClr>
              <a:buFont typeface="+mj-lt"/>
              <a:buAutoNum type="arabicPeriod"/>
            </a:pPr>
            <a:r>
              <a:rPr lang="en-GB" dirty="0">
                <a:latin typeface="+mj-lt"/>
              </a:rPr>
              <a:t>Affordability</a:t>
            </a:r>
            <a:br>
              <a:rPr lang="en-GB" sz="1800" dirty="0">
                <a:latin typeface="+mj-lt"/>
              </a:rPr>
            </a:br>
            <a:endParaRPr lang="en-GB" sz="2400" dirty="0">
              <a:latin typeface="+mj-lt"/>
              <a:cs typeface="Helvetica" panose="020B0604020202020204" pitchFamily="34" charset="0"/>
            </a:endParaRPr>
          </a:p>
          <a:p>
            <a:pPr marL="296545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Helvetica"/>
              </a:rPr>
              <a:t>There is no one-size-fits-all approach, however there are </a:t>
            </a:r>
            <a:r>
              <a:rPr lang="en-GB" sz="2400" b="1" dirty="0">
                <a:solidFill>
                  <a:schemeClr val="accent1"/>
                </a:solidFill>
                <a:latin typeface="+mj-lt"/>
                <a:cs typeface="Helvetica"/>
              </a:rPr>
              <a:t>positive changes </a:t>
            </a:r>
            <a:r>
              <a:rPr lang="en-GB" sz="2400" dirty="0">
                <a:latin typeface="+mj-lt"/>
                <a:cs typeface="Helvetica"/>
              </a:rPr>
              <a:t>you can</a:t>
            </a:r>
            <a:r>
              <a:rPr lang="en-GB" sz="2400" b="1" dirty="0">
                <a:latin typeface="+mj-lt"/>
                <a:cs typeface="Helvetica"/>
              </a:rPr>
              <a:t> </a:t>
            </a:r>
            <a:r>
              <a:rPr lang="en-GB" sz="2400" dirty="0">
                <a:latin typeface="+mj-lt"/>
                <a:cs typeface="Helvetica"/>
              </a:rPr>
              <a:t>make.</a:t>
            </a:r>
          </a:p>
          <a:p>
            <a:pPr marL="10795">
              <a:buClr>
                <a:schemeClr val="accent1"/>
              </a:buClr>
            </a:pPr>
            <a:endParaRPr lang="en-GB" sz="2400" b="0" i="0" dirty="0">
              <a:effectLst/>
              <a:latin typeface="+mj-lt"/>
              <a:cs typeface="Helvetica"/>
            </a:endParaRPr>
          </a:p>
          <a:p>
            <a:pPr marL="10795"/>
            <a:endParaRPr lang="en-GB" sz="2400" dirty="0"/>
          </a:p>
        </p:txBody>
      </p:sp>
      <p:pic>
        <p:nvPicPr>
          <p:cNvPr id="10" name="Picture Placeholder 9" descr="A picture containing food, plate, bowl, fruit&#10;&#10;Description automatically generated">
            <a:extLst>
              <a:ext uri="{FF2B5EF4-FFF2-40B4-BE49-F238E27FC236}">
                <a16:creationId xmlns:a16="http://schemas.microsoft.com/office/drawing/2014/main" id="{1A5F36AF-2DC1-FD5D-8502-60ED43AFE7E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399721" y="2037823"/>
            <a:ext cx="2985086" cy="2761378"/>
          </a:xfrm>
        </p:spPr>
      </p:pic>
    </p:spTree>
    <p:extLst>
      <p:ext uri="{BB962C8B-B14F-4D97-AF65-F5344CB8AC3E}">
        <p14:creationId xmlns:p14="http://schemas.microsoft.com/office/powerpoint/2010/main" val="38235147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grass, holding, person, outdoor&#10;&#10;Description automatically generated">
            <a:extLst>
              <a:ext uri="{FF2B5EF4-FFF2-40B4-BE49-F238E27FC236}">
                <a16:creationId xmlns:a16="http://schemas.microsoft.com/office/drawing/2014/main" id="{BFB64D72-CFE7-6435-BB86-5C9EE28A6AE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79057" y="2198461"/>
            <a:ext cx="3447443" cy="3189085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54248A4-099F-E616-02E9-B34DA0A2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995" y="703383"/>
            <a:ext cx="10721105" cy="1235585"/>
          </a:xfrm>
        </p:spPr>
        <p:txBody>
          <a:bodyPr>
            <a:normAutofit/>
          </a:bodyPr>
          <a:lstStyle/>
          <a:p>
            <a:r>
              <a:rPr lang="en-GB" dirty="0"/>
              <a:t>Why are healthier and more sustainable diets importan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7653F0-E0AC-EDEC-237D-CB576D5817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9219" y="2027104"/>
            <a:ext cx="6396489" cy="4127512"/>
          </a:xfrm>
        </p:spPr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Helvetica" panose="020B0604020202020204" pitchFamily="34" charset="0"/>
              </a:rPr>
              <a:t>The balance of foods that we eat is important for our health and the planet.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latin typeface="+mj-lt"/>
                <a:cs typeface="Helvetica" panose="020B0604020202020204" pitchFamily="34" charset="0"/>
              </a:rPr>
              <a:t>So much goes into producing our food and drinks - water, energy, land, and transport!</a:t>
            </a:r>
          </a:p>
          <a:p>
            <a:pPr marL="296863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b="0" i="0" dirty="0">
                <a:effectLst/>
                <a:latin typeface="+mj-lt"/>
              </a:rPr>
              <a:t>The global food system is responsible for:</a:t>
            </a:r>
          </a:p>
          <a:p>
            <a:pPr lvl="1">
              <a:buClr>
                <a:schemeClr val="accent1"/>
              </a:buClr>
            </a:pPr>
            <a:r>
              <a:rPr lang="en-GB" i="0" dirty="0">
                <a:effectLst/>
                <a:latin typeface="+mj-lt"/>
              </a:rPr>
              <a:t>1/5 to 1/3 of all greenhouse gases</a:t>
            </a:r>
          </a:p>
          <a:p>
            <a:pPr lvl="1">
              <a:buClr>
                <a:schemeClr val="accent1"/>
              </a:buClr>
            </a:pPr>
            <a:r>
              <a:rPr lang="en-GB" dirty="0">
                <a:latin typeface="+mj-lt"/>
              </a:rPr>
              <a:t>O</a:t>
            </a:r>
            <a:r>
              <a:rPr lang="en-GB" i="0" dirty="0">
                <a:effectLst/>
                <a:latin typeface="+mj-lt"/>
              </a:rPr>
              <a:t>ver 2/3 of global freshwater use</a:t>
            </a:r>
          </a:p>
          <a:p>
            <a:pPr lvl="1">
              <a:buClr>
                <a:schemeClr val="accent1"/>
              </a:buClr>
            </a:pPr>
            <a:r>
              <a:rPr lang="en-GB" dirty="0">
                <a:latin typeface="+mj-lt"/>
              </a:rPr>
              <a:t>O</a:t>
            </a:r>
            <a:r>
              <a:rPr lang="en-GB" i="0" dirty="0">
                <a:effectLst/>
                <a:latin typeface="+mj-lt"/>
              </a:rPr>
              <a:t>ver 1/3 of global land area.</a:t>
            </a:r>
          </a:p>
          <a:p>
            <a:endParaRPr lang="en-GB" sz="2400" dirty="0">
              <a:latin typeface="+mj-lt"/>
              <a:cs typeface="Helvetica" panose="020B0604020202020204" pitchFamily="34" charset="0"/>
            </a:endParaRPr>
          </a:p>
          <a:p>
            <a:endParaRPr lang="en-GB" sz="2400" dirty="0">
              <a:latin typeface="+mj-lt"/>
              <a:cs typeface="Helvetica" panose="020B0604020202020204" pitchFamily="34" charset="0"/>
            </a:endParaRPr>
          </a:p>
          <a:p>
            <a:endParaRPr lang="en-GB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79490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A43920-6807-4D99-D814-7E11FEC626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xample: What goes into producing bread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DB3661-DA96-8242-B688-35872C953E3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4968" y="1508032"/>
            <a:ext cx="2294748" cy="193441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96757F-0C43-E356-C36B-14EDD42C5DE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347" y="1508032"/>
            <a:ext cx="2294748" cy="19344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9F8073-FDA2-2CFD-8056-45DC2AACE00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347" y="4033826"/>
            <a:ext cx="2294748" cy="193441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E3CC9DC-AFBE-707C-27C9-4C40FD5CC4F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585" y="4033825"/>
            <a:ext cx="2294748" cy="193441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D1C3297-B925-626F-62BA-C7698E91776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4968" y="4033825"/>
            <a:ext cx="2294748" cy="193441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1D47421-75D3-1612-458D-27B496EFB216}"/>
              </a:ext>
            </a:extLst>
          </p:cNvPr>
          <p:cNvSpPr txBox="1"/>
          <p:nvPr/>
        </p:nvSpPr>
        <p:spPr>
          <a:xfrm>
            <a:off x="1096392" y="3455893"/>
            <a:ext cx="2611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Lan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934C64-ED26-7089-068A-5D4AB1F8F203}"/>
              </a:ext>
            </a:extLst>
          </p:cNvPr>
          <p:cNvSpPr txBox="1"/>
          <p:nvPr/>
        </p:nvSpPr>
        <p:spPr>
          <a:xfrm>
            <a:off x="1218326" y="5960959"/>
            <a:ext cx="2368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Wa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B153FD2-BA37-028C-F6C1-FF9ADCB3F68F}"/>
              </a:ext>
            </a:extLst>
          </p:cNvPr>
          <p:cNvSpPr txBox="1"/>
          <p:nvPr/>
        </p:nvSpPr>
        <p:spPr>
          <a:xfrm>
            <a:off x="5397715" y="3429000"/>
            <a:ext cx="8580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Fu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D9FBAB0-B3C7-D99D-B093-2240F858E9BE}"/>
              </a:ext>
            </a:extLst>
          </p:cNvPr>
          <p:cNvSpPr txBox="1"/>
          <p:nvPr/>
        </p:nvSpPr>
        <p:spPr>
          <a:xfrm>
            <a:off x="8024943" y="3442448"/>
            <a:ext cx="2368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Transpo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B829E3-0975-1F51-AE7E-C3FD1EE1D893}"/>
              </a:ext>
            </a:extLst>
          </p:cNvPr>
          <p:cNvSpPr txBox="1"/>
          <p:nvPr/>
        </p:nvSpPr>
        <p:spPr>
          <a:xfrm>
            <a:off x="4858533" y="5978729"/>
            <a:ext cx="19363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Oven (Energy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64BB69-7178-9886-AB1A-23DB611A26C4}"/>
              </a:ext>
            </a:extLst>
          </p:cNvPr>
          <p:cNvSpPr txBox="1"/>
          <p:nvPr/>
        </p:nvSpPr>
        <p:spPr>
          <a:xfrm>
            <a:off x="8477646" y="5961438"/>
            <a:ext cx="14626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/>
              <a:t>Packaging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437ABF0-9C69-96B3-8C94-08E2301F879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584" y="1494585"/>
            <a:ext cx="2294751" cy="1961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9002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91FBAF58-9E89-4E24-9E02-16DF1A407B5B}"/>
              </a:ext>
            </a:extLst>
          </p:cNvPr>
          <p:cNvSpPr txBox="1"/>
          <p:nvPr/>
        </p:nvSpPr>
        <p:spPr>
          <a:xfrm>
            <a:off x="4795285" y="1139048"/>
            <a:ext cx="6684868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>
                <a:cs typeface="Calibri" panose="020F0502020204030204" pitchFamily="34" charset="0"/>
              </a:rPr>
              <a:t>The </a:t>
            </a:r>
            <a:r>
              <a:rPr lang="en-US" sz="2100" b="1" dirty="0">
                <a:solidFill>
                  <a:srgbClr val="00B050"/>
                </a:solidFill>
                <a:cs typeface="Calibri" panose="020F0502020204030204" pitchFamily="34" charset="0"/>
              </a:rPr>
              <a:t>Eatwell Guide </a:t>
            </a:r>
            <a:r>
              <a:rPr lang="en-US" sz="2100" dirty="0">
                <a:cs typeface="Calibri" panose="020F0502020204030204" pitchFamily="34" charset="0"/>
              </a:rPr>
              <a:t>is the UK’s healthy eating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Calibri" panose="020F0502020204030204" pitchFamily="34" charset="0"/>
              </a:rPr>
              <a:t>This is a </a:t>
            </a:r>
            <a:r>
              <a:rPr lang="en-US" sz="2000" b="1" dirty="0">
                <a:solidFill>
                  <a:srgbClr val="00B050"/>
                </a:solidFill>
                <a:cs typeface="Calibri" panose="020F0502020204030204" pitchFamily="34" charset="0"/>
              </a:rPr>
              <a:t>plant-rich</a:t>
            </a:r>
            <a:r>
              <a:rPr lang="en-US" sz="2000" dirty="0">
                <a:cs typeface="Calibri" panose="020F0502020204030204" pitchFamily="34" charset="0"/>
              </a:rPr>
              <a:t> style of eating that can also include </a:t>
            </a:r>
            <a:r>
              <a:rPr lang="en-US" sz="2000" b="1" dirty="0">
                <a:solidFill>
                  <a:srgbClr val="00B050"/>
                </a:solidFill>
                <a:cs typeface="Calibri" panose="020F0502020204030204" pitchFamily="34" charset="0"/>
              </a:rPr>
              <a:t>some nutrient-rich animal-based foods </a:t>
            </a:r>
            <a:r>
              <a:rPr lang="en-US" sz="2000" dirty="0">
                <a:cs typeface="Calibri" panose="020F0502020204030204" pitchFamily="34" charset="0"/>
              </a:rPr>
              <a:t>(meat, milk, eggs, fish, and dairy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000" dirty="0"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Calibri" panose="020F0502020204030204" pitchFamily="34" charset="0"/>
              </a:rPr>
              <a:t>Following the Eatwell Guide more closely can have </a:t>
            </a:r>
            <a:r>
              <a:rPr lang="en-US" sz="2000" b="1" dirty="0">
                <a:solidFill>
                  <a:srgbClr val="00B050"/>
                </a:solidFill>
                <a:cs typeface="Calibri" panose="020F0502020204030204" pitchFamily="34" charset="0"/>
              </a:rPr>
              <a:t>environmental and health benefits</a:t>
            </a:r>
            <a:r>
              <a:rPr lang="en-US" sz="2000" dirty="0">
                <a:cs typeface="Calibri" panose="020F0502020204030204" pitchFamily="34" charset="0"/>
              </a:rPr>
              <a:t>: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1F7CD3-82B1-4D6E-9C43-C70C741124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087" y="1003965"/>
            <a:ext cx="3944793" cy="28161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087F5F1-DD55-4BF4-8653-362C9C1B17A2}"/>
              </a:ext>
            </a:extLst>
          </p:cNvPr>
          <p:cNvSpPr txBox="1"/>
          <p:nvPr/>
        </p:nvSpPr>
        <p:spPr>
          <a:xfrm>
            <a:off x="5647693" y="6503865"/>
            <a:ext cx="55998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s: </a:t>
            </a:r>
            <a:r>
              <a:rPr lang="nl-NL" sz="900" dirty="0"/>
              <a:t>Scheelbeek et al. (2020) </a:t>
            </a:r>
            <a:r>
              <a:rPr lang="nl-NL" sz="900" i="1" dirty="0"/>
              <a:t>BMJ Open</a:t>
            </a:r>
            <a:r>
              <a:rPr lang="nl-NL" sz="900" b="1" i="1" dirty="0"/>
              <a:t> </a:t>
            </a:r>
            <a:r>
              <a:rPr lang="nl-NL" sz="900" b="1" dirty="0"/>
              <a:t>10</a:t>
            </a:r>
            <a:r>
              <a:rPr lang="nl-NL" sz="900" dirty="0"/>
              <a:t>:e037554; Cobiac et al. (2016) </a:t>
            </a:r>
            <a:r>
              <a:rPr lang="nl-NL" sz="900" i="1" dirty="0"/>
              <a:t>PLOS ONE </a:t>
            </a:r>
            <a:r>
              <a:rPr lang="nl-NL" sz="900" b="1" dirty="0"/>
              <a:t>11</a:t>
            </a:r>
            <a:r>
              <a:rPr lang="nl-NL" sz="900" dirty="0"/>
              <a:t>: e0167859 </a:t>
            </a:r>
            <a:endParaRPr lang="en-US" sz="9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D4AC15-0723-4260-87D0-7073C5BF01C5}"/>
              </a:ext>
            </a:extLst>
          </p:cNvPr>
          <p:cNvSpPr txBox="1">
            <a:spLocks/>
          </p:cNvSpPr>
          <p:nvPr/>
        </p:nvSpPr>
        <p:spPr>
          <a:xfrm>
            <a:off x="277967" y="155749"/>
            <a:ext cx="11636065" cy="6869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GB" sz="3600" dirty="0"/>
              <a:t>How can we eat a healthier and more sustainable diet?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B416FC7E-E6AC-B58F-24FB-DCD49DC226C4}"/>
              </a:ext>
            </a:extLst>
          </p:cNvPr>
          <p:cNvSpPr/>
          <p:nvPr/>
        </p:nvSpPr>
        <p:spPr>
          <a:xfrm>
            <a:off x="3285960" y="4006030"/>
            <a:ext cx="5451712" cy="217846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107000"/>
              </a:lnSpc>
              <a:buClr>
                <a:srgbClr val="00B050"/>
              </a:buClr>
            </a:pPr>
            <a:endParaRPr lang="en-GB" sz="14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F161F20D-CAE7-158D-2F2D-2FC8786E23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21842" y="4052869"/>
            <a:ext cx="4303140" cy="2427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% lower</a:t>
            </a:r>
            <a:r>
              <a:rPr lang="en-GB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reenhouse gases</a:t>
            </a:r>
            <a:endParaRPr lang="en-GB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200000"/>
              </a:lnSpc>
              <a:spcAft>
                <a:spcPts val="800"/>
              </a:spcAf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% lower</a:t>
            </a:r>
            <a:r>
              <a:rPr lang="en-GB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ater use</a:t>
            </a:r>
            <a:endParaRPr lang="en-GB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1800"/>
              </a:spcAft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duce the number of new cases of </a:t>
            </a:r>
            <a:r>
              <a:rPr lang="en-GB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pe 2 diabetes, heart disease, and stroke </a:t>
            </a: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the UK population </a:t>
            </a:r>
            <a:endParaRPr lang="en-GB" dirty="0">
              <a:effectLst/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4367294E-AF09-5282-23D0-B47C63C31A6C}"/>
              </a:ext>
            </a:extLst>
          </p:cNvPr>
          <p:cNvSpPr/>
          <p:nvPr/>
        </p:nvSpPr>
        <p:spPr>
          <a:xfrm>
            <a:off x="3580290" y="4190319"/>
            <a:ext cx="223520" cy="3127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B24DBCCF-8925-0ED5-8EC6-EB86B7E93717}"/>
              </a:ext>
            </a:extLst>
          </p:cNvPr>
          <p:cNvSpPr/>
          <p:nvPr/>
        </p:nvSpPr>
        <p:spPr>
          <a:xfrm>
            <a:off x="3577546" y="4791653"/>
            <a:ext cx="223520" cy="3127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C49DEBB9-6CAE-1524-44C4-BC3495F1A9DF}"/>
              </a:ext>
            </a:extLst>
          </p:cNvPr>
          <p:cNvSpPr/>
          <p:nvPr/>
        </p:nvSpPr>
        <p:spPr>
          <a:xfrm>
            <a:off x="3580290" y="5427023"/>
            <a:ext cx="223520" cy="3127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0" name="Graphic 31" descr="Earth Globe - Asia with solid fill">
            <a:extLst>
              <a:ext uri="{FF2B5EF4-FFF2-40B4-BE49-F238E27FC236}">
                <a16:creationId xmlns:a16="http://schemas.microsoft.com/office/drawing/2014/main" id="{DB00D5C6-28FF-FE4B-97F5-D1DB86E870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8044303" y="4072285"/>
            <a:ext cx="562216" cy="562216"/>
          </a:xfrm>
          <a:prstGeom prst="rect">
            <a:avLst/>
          </a:prstGeom>
        </p:spPr>
      </p:pic>
      <p:pic>
        <p:nvPicPr>
          <p:cNvPr id="21" name="Graphic 34" descr="Water with solid fill">
            <a:extLst>
              <a:ext uri="{FF2B5EF4-FFF2-40B4-BE49-F238E27FC236}">
                <a16:creationId xmlns:a16="http://schemas.microsoft.com/office/drawing/2014/main" id="{3445E5FD-12FB-D4BE-1303-415F23DD28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8044303" y="4649890"/>
            <a:ext cx="562214" cy="596264"/>
          </a:xfrm>
          <a:prstGeom prst="rect">
            <a:avLst/>
          </a:prstGeom>
        </p:spPr>
      </p:pic>
      <p:pic>
        <p:nvPicPr>
          <p:cNvPr id="3" name="Graphic 2" descr="Heart with pulse with solid fill">
            <a:extLst>
              <a:ext uri="{FF2B5EF4-FFF2-40B4-BE49-F238E27FC236}">
                <a16:creationId xmlns:a16="http://schemas.microsoft.com/office/drawing/2014/main" id="{FDDF95E5-8E26-9A93-898C-DFE11CACE4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13032" y="5321277"/>
            <a:ext cx="623900" cy="6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04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  <p:bldP spid="17" grpId="0" animBg="1"/>
      <p:bldP spid="18" grpId="0" animBg="1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8184F75C-79B3-4B9F-828D-F51F7DD1D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8184F75C-79B3-4B9F-828D-F51F7DD1D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TextBox 74">
            <a:extLst>
              <a:ext uri="{FF2B5EF4-FFF2-40B4-BE49-F238E27FC236}">
                <a16:creationId xmlns:a16="http://schemas.microsoft.com/office/drawing/2014/main" id="{189CDA84-C540-4530-8D97-233E46A305A0}"/>
              </a:ext>
            </a:extLst>
          </p:cNvPr>
          <p:cNvSpPr txBox="1"/>
          <p:nvPr/>
        </p:nvSpPr>
        <p:spPr>
          <a:xfrm>
            <a:off x="453416" y="2145989"/>
            <a:ext cx="1855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Monday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C7832EA-E72D-4714-8103-B3D2FE5DC382}"/>
              </a:ext>
            </a:extLst>
          </p:cNvPr>
          <p:cNvSpPr txBox="1"/>
          <p:nvPr/>
        </p:nvSpPr>
        <p:spPr>
          <a:xfrm>
            <a:off x="2721477" y="2145989"/>
            <a:ext cx="1855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Tuesday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11F7C59-72BA-4918-B329-F66C63D92592}"/>
              </a:ext>
            </a:extLst>
          </p:cNvPr>
          <p:cNvSpPr txBox="1"/>
          <p:nvPr/>
        </p:nvSpPr>
        <p:spPr>
          <a:xfrm>
            <a:off x="5013559" y="2145989"/>
            <a:ext cx="23394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Wednesda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1967E9-369F-4A0C-A873-E17D21A36549}"/>
              </a:ext>
            </a:extLst>
          </p:cNvPr>
          <p:cNvSpPr txBox="1"/>
          <p:nvPr/>
        </p:nvSpPr>
        <p:spPr>
          <a:xfrm>
            <a:off x="7767434" y="2145989"/>
            <a:ext cx="1941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Thursday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0BBBC3D4-1B77-4B8D-A7C5-36FF61F08C98}"/>
              </a:ext>
            </a:extLst>
          </p:cNvPr>
          <p:cNvSpPr txBox="1"/>
          <p:nvPr/>
        </p:nvSpPr>
        <p:spPr>
          <a:xfrm>
            <a:off x="9950331" y="2145989"/>
            <a:ext cx="1855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+mj-lt"/>
              </a:rPr>
              <a:t>Friday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984F21B-1983-4C48-BC7C-D51B162E8E44}"/>
              </a:ext>
            </a:extLst>
          </p:cNvPr>
          <p:cNvSpPr txBox="1"/>
          <p:nvPr/>
        </p:nvSpPr>
        <p:spPr>
          <a:xfrm>
            <a:off x="352932" y="5087494"/>
            <a:ext cx="20354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Focus on Fibr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4531F3B-9B2A-480F-891F-16E1F0CEA610}"/>
              </a:ext>
            </a:extLst>
          </p:cNvPr>
          <p:cNvSpPr txBox="1"/>
          <p:nvPr/>
        </p:nvSpPr>
        <p:spPr>
          <a:xfrm>
            <a:off x="2626165" y="5079967"/>
            <a:ext cx="21699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</a:rPr>
              <a:t>Get at least 5 A DAY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4610F58-AB30-4BE7-A003-BDF3D1A25D36}"/>
              </a:ext>
            </a:extLst>
          </p:cNvPr>
          <p:cNvSpPr txBox="1"/>
          <p:nvPr/>
        </p:nvSpPr>
        <p:spPr>
          <a:xfrm>
            <a:off x="4955558" y="5087494"/>
            <a:ext cx="233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Vary Your Protein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79AB48E-DBA6-441C-A914-EBD3B92103BB}"/>
              </a:ext>
            </a:extLst>
          </p:cNvPr>
          <p:cNvSpPr txBox="1"/>
          <p:nvPr/>
        </p:nvSpPr>
        <p:spPr>
          <a:xfrm>
            <a:off x="7454459" y="5079967"/>
            <a:ext cx="233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Stay Hydrated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17E7980-8D25-48E8-B1F8-D7595F406D7C}"/>
              </a:ext>
            </a:extLst>
          </p:cNvPr>
          <p:cNvSpPr txBox="1"/>
          <p:nvPr/>
        </p:nvSpPr>
        <p:spPr>
          <a:xfrm>
            <a:off x="9708160" y="5063465"/>
            <a:ext cx="233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Reduce Food Waste</a:t>
            </a:r>
          </a:p>
        </p:txBody>
      </p:sp>
      <p:sp>
        <p:nvSpPr>
          <p:cNvPr id="47" name="Title 2">
            <a:extLst>
              <a:ext uri="{FF2B5EF4-FFF2-40B4-BE49-F238E27FC236}">
                <a16:creationId xmlns:a16="http://schemas.microsoft.com/office/drawing/2014/main" id="{AC0C34A3-3C83-EA41-0C2D-C00EFB0C20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2841" y="568644"/>
            <a:ext cx="10433208" cy="691661"/>
          </a:xfrm>
        </p:spPr>
        <p:txBody>
          <a:bodyPr anchor="b">
            <a:normAutofit/>
          </a:bodyPr>
          <a:lstStyle/>
          <a:p>
            <a:r>
              <a:rPr lang="en-GB" dirty="0"/>
              <a:t>Themes of the Week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5F81E81-DC92-BF51-59D1-948E22252525}"/>
              </a:ext>
            </a:extLst>
          </p:cNvPr>
          <p:cNvSpPr txBox="1"/>
          <p:nvPr/>
        </p:nvSpPr>
        <p:spPr>
          <a:xfrm>
            <a:off x="643116" y="1370996"/>
            <a:ext cx="10896858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2200" b="0" i="0" dirty="0">
                <a:effectLst/>
                <a:latin typeface="+mj-lt"/>
              </a:rPr>
              <a:t>Each day of the </a:t>
            </a:r>
            <a:r>
              <a:rPr lang="en-GB" sz="2200" dirty="0">
                <a:latin typeface="+mj-lt"/>
              </a:rPr>
              <a:t>Week</a:t>
            </a:r>
            <a:r>
              <a:rPr lang="en-GB" sz="2200" b="0" i="0" dirty="0">
                <a:effectLst/>
                <a:latin typeface="+mj-lt"/>
              </a:rPr>
              <a:t> focuses on a theme to help you to make positive changes, in an affordable way. </a:t>
            </a:r>
            <a:endParaRPr lang="en-GB" sz="2200" dirty="0"/>
          </a:p>
        </p:txBody>
      </p:sp>
      <p:pic>
        <p:nvPicPr>
          <p:cNvPr id="51" name="Picture 50" descr="Chart&#10;&#10;Description automatically generated">
            <a:extLst>
              <a:ext uri="{FF2B5EF4-FFF2-40B4-BE49-F238E27FC236}">
                <a16:creationId xmlns:a16="http://schemas.microsoft.com/office/drawing/2014/main" id="{8F15F5E8-3805-6BAB-E050-53DEC9C5DC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595" y="2814701"/>
            <a:ext cx="1800000" cy="1796959"/>
          </a:xfrm>
          <a:prstGeom prst="rect">
            <a:avLst/>
          </a:prstGeom>
        </p:spPr>
      </p:pic>
      <p:pic>
        <p:nvPicPr>
          <p:cNvPr id="55" name="Picture 54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9BC8EF9-1139-6803-DEE6-FC6BDFAF9E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23624" y="2814701"/>
            <a:ext cx="1800000" cy="1796959"/>
          </a:xfrm>
          <a:prstGeom prst="rect">
            <a:avLst/>
          </a:prstGeom>
        </p:spPr>
      </p:pic>
      <p:pic>
        <p:nvPicPr>
          <p:cNvPr id="57" name="Picture 56" descr="A picture containing chart&#10;&#10;Description automatically generated">
            <a:extLst>
              <a:ext uri="{FF2B5EF4-FFF2-40B4-BE49-F238E27FC236}">
                <a16:creationId xmlns:a16="http://schemas.microsoft.com/office/drawing/2014/main" id="{AA11E5EC-D159-6AB5-B59A-F2BAD76D61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0614" y="2814701"/>
            <a:ext cx="1800000" cy="1796959"/>
          </a:xfrm>
          <a:prstGeom prst="rect">
            <a:avLst/>
          </a:prstGeom>
        </p:spPr>
      </p:pic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B0B8E2D8-7C66-63F0-DD2E-8A47E4FCD2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97604" y="2813180"/>
            <a:ext cx="1800000" cy="1800000"/>
          </a:xfrm>
          <a:prstGeom prst="rect">
            <a:avLst/>
          </a:prstGeom>
        </p:spPr>
      </p:pic>
      <p:pic>
        <p:nvPicPr>
          <p:cNvPr id="5" name="Picture 4" descr="A picture containing diagram&#10;&#10;Description automatically generated">
            <a:extLst>
              <a:ext uri="{FF2B5EF4-FFF2-40B4-BE49-F238E27FC236}">
                <a16:creationId xmlns:a16="http://schemas.microsoft.com/office/drawing/2014/main" id="{D6DEA916-A814-235A-D309-4616B2BC200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36633" y="2814701"/>
            <a:ext cx="1800000" cy="1796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111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B2C69-E252-130B-800C-208DC79BCE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Focus on fibre – for meals and snacks</a:t>
            </a:r>
          </a:p>
        </p:txBody>
      </p:sp>
      <p:pic>
        <p:nvPicPr>
          <p:cNvPr id="6" name="Picture Placeholder 5" descr="A picture containing meal, variety&#10;&#10;Description automatically generated">
            <a:extLst>
              <a:ext uri="{FF2B5EF4-FFF2-40B4-BE49-F238E27FC236}">
                <a16:creationId xmlns:a16="http://schemas.microsoft.com/office/drawing/2014/main" id="{F40A1077-B615-89BD-47A9-63D4846F2E3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632154" y="2050126"/>
            <a:ext cx="4180286" cy="347144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3FEDFB-19CC-742C-C8FE-D12018D4F9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8892" y="1712832"/>
            <a:ext cx="5371571" cy="4676952"/>
          </a:xfrm>
        </p:spPr>
        <p:txBody>
          <a:bodyPr>
            <a:noAutofit/>
          </a:bodyPr>
          <a:lstStyle/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solidFill>
                  <a:srgbClr val="000000"/>
                </a:solidFill>
                <a:latin typeface="+mj-lt"/>
              </a:rPr>
              <a:t>Have more wholegrain foods, fruit and vegetables, beans, peas and lentils.</a:t>
            </a:r>
            <a:endParaRPr lang="en-GB" sz="2200" dirty="0">
              <a:solidFill>
                <a:srgbClr val="000000"/>
              </a:solidFill>
              <a:latin typeface="+mj-lt"/>
            </a:endParaRP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i="0" u="none" strike="noStrike" baseline="0" dirty="0">
                <a:latin typeface="+mj-lt"/>
              </a:rPr>
              <a:t>Eating plenty of fibre is associated with a lower risk of heart disease, stroke, type 2 diabetes and bowel cancer. </a:t>
            </a:r>
          </a:p>
          <a:p>
            <a:pPr marL="296863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200" dirty="0">
                <a:latin typeface="+mj-lt"/>
              </a:rPr>
              <a:t>A </a:t>
            </a:r>
            <a:r>
              <a:rPr lang="en-GB" sz="2200" b="0" i="0" u="none" strike="noStrike" baseline="0" dirty="0">
                <a:latin typeface="+mj-lt"/>
              </a:rPr>
              <a:t>plant-rich diet* can help us to increase fibre intake and also helps reduce the environmental impact of what we eat.</a:t>
            </a:r>
            <a:endParaRPr lang="en-GB" sz="2000" b="0" i="0" u="none" strike="noStrike" baseline="0" dirty="0">
              <a:latin typeface="+mj-lt"/>
            </a:endParaRPr>
          </a:p>
          <a:p>
            <a:pPr>
              <a:buClr>
                <a:schemeClr val="accent1"/>
              </a:buClr>
            </a:pPr>
            <a:r>
              <a:rPr lang="en-GB" sz="1500" dirty="0">
                <a:latin typeface="+mj-lt"/>
              </a:rPr>
              <a:t>* </a:t>
            </a:r>
            <a:r>
              <a:rPr lang="en-GB" sz="1600" dirty="0">
                <a:latin typeface="+mj-lt"/>
              </a:rPr>
              <a:t>A plant-rich diet </a:t>
            </a:r>
            <a:r>
              <a:rPr lang="en-GB" sz="1600" b="0" dirty="0">
                <a:effectLst/>
                <a:latin typeface="+mj-lt"/>
              </a:rPr>
              <a:t>can also include </a:t>
            </a:r>
            <a:r>
              <a:rPr lang="en-GB" sz="1600" dirty="0">
                <a:effectLst/>
                <a:latin typeface="+mj-lt"/>
              </a:rPr>
              <a:t>animal based foods such as </a:t>
            </a:r>
            <a:r>
              <a:rPr lang="en-GB" sz="1600" b="0" dirty="0">
                <a:effectLst/>
                <a:latin typeface="+mj-lt"/>
              </a:rPr>
              <a:t>some meat, dairy, fish and eggs</a:t>
            </a:r>
            <a:r>
              <a:rPr lang="en-GB" sz="1600" dirty="0">
                <a:effectLst/>
                <a:latin typeface="+mj-lt"/>
              </a:rPr>
              <a:t>. </a:t>
            </a:r>
            <a:endParaRPr lang="en-GB" sz="1300" dirty="0">
              <a:latin typeface="+mj-lt"/>
            </a:endParaRPr>
          </a:p>
        </p:txBody>
      </p:sp>
      <p:pic>
        <p:nvPicPr>
          <p:cNvPr id="5" name="Picture 4" descr="Chart&#10;&#10;Description automatically generated with medium confidence">
            <a:extLst>
              <a:ext uri="{FF2B5EF4-FFF2-40B4-BE49-F238E27FC236}">
                <a16:creationId xmlns:a16="http://schemas.microsoft.com/office/drawing/2014/main" id="{DDA72EAC-E7BC-90FC-6DCD-006C4384AE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805" y="195380"/>
            <a:ext cx="1346742" cy="134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4559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8C136-3BE1-2457-C3D7-0F740906CC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7450" y="2139690"/>
            <a:ext cx="10884269" cy="1207285"/>
          </a:xfrm>
        </p:spPr>
        <p:txBody>
          <a:bodyPr>
            <a:normAutofit/>
          </a:bodyPr>
          <a:lstStyle/>
          <a:p>
            <a:pPr algn="ctr"/>
            <a:r>
              <a:rPr lang="en-GB" dirty="0"/>
              <a:t>What wholegrain foods do you eat?</a:t>
            </a:r>
          </a:p>
        </p:txBody>
      </p:sp>
      <p:pic>
        <p:nvPicPr>
          <p:cNvPr id="3" name="Picture 2" descr="Chart&#10;&#10;Description automatically generated with medium confidence">
            <a:extLst>
              <a:ext uri="{FF2B5EF4-FFF2-40B4-BE49-F238E27FC236}">
                <a16:creationId xmlns:a16="http://schemas.microsoft.com/office/drawing/2014/main" id="{E04C9519-EDCE-9E9E-FB7E-9ABDA6F80A3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805" y="195380"/>
            <a:ext cx="1346742" cy="134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612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NF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53B058"/>
      </a:accent1>
      <a:accent2>
        <a:srgbClr val="E53812"/>
      </a:accent2>
      <a:accent3>
        <a:srgbClr val="FDC92F"/>
      </a:accent3>
      <a:accent4>
        <a:srgbClr val="DB7850"/>
      </a:accent4>
      <a:accent5>
        <a:srgbClr val="226E9D"/>
      </a:accent5>
      <a:accent6>
        <a:srgbClr val="EC696D"/>
      </a:accent6>
      <a:hlink>
        <a:srgbClr val="0563C1"/>
      </a:hlink>
      <a:folHlink>
        <a:srgbClr val="EB673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NF-PPT-Core_Final" id="{AD3BEF57-7A73-47C5-B7D9-06433EB0FEA4}" vid="{F059A07C-06E5-44E5-B6A2-3BA7FD668FE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5B78CA333243439763E4169A5FEB7F" ma:contentTypeVersion="17" ma:contentTypeDescription="Create a new document." ma:contentTypeScope="" ma:versionID="f2c597ebce0aa0fd5759700e14dd3adc">
  <xsd:schema xmlns:xsd="http://www.w3.org/2001/XMLSchema" xmlns:xs="http://www.w3.org/2001/XMLSchema" xmlns:p="http://schemas.microsoft.com/office/2006/metadata/properties" xmlns:ns2="c53071f4-7f44-43fd-895c-8e7b6a3746b0" xmlns:ns3="ead97cfe-a968-427f-b02b-893e6ba0355a" targetNamespace="http://schemas.microsoft.com/office/2006/metadata/properties" ma:root="true" ma:fieldsID="27039d98634059a90188b6cb8bc5e987" ns2:_="" ns3:_="">
    <xsd:import namespace="c53071f4-7f44-43fd-895c-8e7b6a3746b0"/>
    <xsd:import namespace="ead97cfe-a968-427f-b02b-893e6ba035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_Flow_SignoffStatu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3071f4-7f44-43fd-895c-8e7b6a374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a407c16c-d400-4155-af4b-d0582c07d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97cfe-a968-427f-b02b-893e6ba035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b8b45f8-435e-402c-b129-c8853cba6318}" ma:internalName="TaxCatchAll" ma:showField="CatchAllData" ma:web="ead97cfe-a968-427f-b02b-893e6ba03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53071f4-7f44-43fd-895c-8e7b6a3746b0" xsi:nil="true"/>
    <TaxCatchAll xmlns="ead97cfe-a968-427f-b02b-893e6ba0355a" xsi:nil="true"/>
    <lcf76f155ced4ddcb4097134ff3c332f xmlns="c53071f4-7f44-43fd-895c-8e7b6a3746b0">
      <Terms xmlns="http://schemas.microsoft.com/office/infopath/2007/PartnerControls"/>
    </lcf76f155ced4ddcb4097134ff3c332f>
    <SharedWithUsers xmlns="ead97cfe-a968-427f-b02b-893e6ba0355a">
      <UserInfo>
        <DisplayName>Claire Theobald</DisplayName>
        <AccountId>2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C73DF7B-E02E-4D4B-96F5-36ECDE90AC46}">
  <ds:schemaRefs>
    <ds:schemaRef ds:uri="c53071f4-7f44-43fd-895c-8e7b6a3746b0"/>
    <ds:schemaRef ds:uri="ead97cfe-a968-427f-b02b-893e6ba0355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93F1269-12CB-4DC7-B489-454ED5B982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2607A0-CB04-499A-863B-3B807C1C2487}">
  <ds:schemaRefs>
    <ds:schemaRef ds:uri="c53071f4-7f44-43fd-895c-8e7b6a3746b0"/>
    <ds:schemaRef ds:uri="ead97cfe-a968-427f-b02b-893e6ba0355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F-PPT-Core_Final</Template>
  <TotalTime>136</TotalTime>
  <Words>1353</Words>
  <Application>Microsoft Office PowerPoint</Application>
  <PresentationFormat>Widescreen</PresentationFormat>
  <Paragraphs>149</Paragraphs>
  <Slides>2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5" baseType="lpstr">
      <vt:lpstr>Arial</vt:lpstr>
      <vt:lpstr>Calibri</vt:lpstr>
      <vt:lpstr>Georgia</vt:lpstr>
      <vt:lpstr>Helvetica</vt:lpstr>
      <vt:lpstr>Segoe UI</vt:lpstr>
      <vt:lpstr>Times New Roman</vt:lpstr>
      <vt:lpstr>Office Theme</vt:lpstr>
      <vt:lpstr>think-cell Slide</vt:lpstr>
      <vt:lpstr>Healthy Eating Week 2023</vt:lpstr>
      <vt:lpstr>What’s it all about?</vt:lpstr>
      <vt:lpstr>What is a healthier and more sustainable diet?</vt:lpstr>
      <vt:lpstr>Why are healthier and more sustainable diets important?</vt:lpstr>
      <vt:lpstr>Example: What goes into producing bread?</vt:lpstr>
      <vt:lpstr>PowerPoint Presentation</vt:lpstr>
      <vt:lpstr>Themes of the Week</vt:lpstr>
      <vt:lpstr>Focus on fibre – for meals and snacks</vt:lpstr>
      <vt:lpstr>What wholegrain foods do you eat?</vt:lpstr>
      <vt:lpstr>Here are some examples of wholegrain foods</vt:lpstr>
      <vt:lpstr>Consider the pennies</vt:lpstr>
      <vt:lpstr>Get at least 5 A DAY – canned and frozen  count too</vt:lpstr>
      <vt:lpstr>PowerPoint Presentation</vt:lpstr>
      <vt:lpstr>Consider the pennies</vt:lpstr>
      <vt:lpstr>Vary your protein - be more creative</vt:lpstr>
      <vt:lpstr>PowerPoint Presentation</vt:lpstr>
      <vt:lpstr>Here are some examples of plant protein</vt:lpstr>
      <vt:lpstr>Consider the pennies</vt:lpstr>
      <vt:lpstr>Stay hydrated - fill up from the tap</vt:lpstr>
      <vt:lpstr>PowerPoint Presentation</vt:lpstr>
      <vt:lpstr>Here are some examples of drinks that  count!</vt:lpstr>
      <vt:lpstr>Consider the pennies</vt:lpstr>
      <vt:lpstr>Reduce food waste – be food wise</vt:lpstr>
      <vt:lpstr>PowerPoint Presentation</vt:lpstr>
      <vt:lpstr>Here are some ways to reduce food waste</vt:lpstr>
      <vt:lpstr>Consider the pennies</vt:lpstr>
      <vt:lpstr>We hope you enjoy Healthy Eating Week 2023!  For more information, go to:  https://www.nutrition.org.uk/healthy-eating-week-2023/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phie Yelland</dc:creator>
  <cp:lastModifiedBy>Ewen Trafford</cp:lastModifiedBy>
  <cp:revision>2</cp:revision>
  <dcterms:created xsi:type="dcterms:W3CDTF">2022-05-05T16:33:46Z</dcterms:created>
  <dcterms:modified xsi:type="dcterms:W3CDTF">2023-05-16T11:1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5B78CA333243439763E4169A5FEB7F</vt:lpwstr>
  </property>
  <property fmtid="{D5CDD505-2E9C-101B-9397-08002B2CF9AE}" pid="3" name="MediaServiceImageTags">
    <vt:lpwstr/>
  </property>
</Properties>
</file>